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8.xml" ContentType="application/vnd.openxmlformats-officedocument.theme+xml"/>
  <Override PartName="/ppt/tags/tag3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9.xml" ContentType="application/vnd.openxmlformats-officedocument.theme+xml"/>
  <Override PartName="/ppt/tags/tag4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0.xml" ContentType="application/vnd.openxmlformats-officedocument.theme+xml"/>
  <Override PartName="/ppt/tags/tag5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1.xml" ContentType="application/vnd.openxmlformats-officedocument.theme+xml"/>
  <Override PartName="/ppt/tags/tag6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12.xml" ContentType="application/vnd.openxmlformats-officedocument.theme+xml"/>
  <Override PartName="/ppt/tags/tag7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3.xml" ContentType="application/vnd.openxmlformats-officedocument.theme+xml"/>
  <Override PartName="/ppt/tags/tag8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14.xml" ContentType="application/vnd.openxmlformats-officedocument.theme+xml"/>
  <Override PartName="/ppt/tags/tag9.xml" ContentType="application/vnd.openxmlformats-officedocument.presentationml.tags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15.xml" ContentType="application/vnd.openxmlformats-officedocument.theme+xml"/>
  <Override PartName="/ppt/tags/tag10.xml" ContentType="application/vnd.openxmlformats-officedocument.presentationml.tags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16.xml" ContentType="application/vnd.openxmlformats-officedocument.theme+xml"/>
  <Override PartName="/ppt/tags/tag11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17.xml" ContentType="application/vnd.openxmlformats-officedocument.theme+xml"/>
  <Override PartName="/ppt/tags/tag12.xml" ContentType="application/vnd.openxmlformats-officedocument.presentationml.tags+xml"/>
  <Override PartName="/ppt/theme/theme18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92" r:id="rId2"/>
    <p:sldMasterId id="2147483701" r:id="rId3"/>
    <p:sldMasterId id="2147483710" r:id="rId4"/>
    <p:sldMasterId id="2147483719" r:id="rId5"/>
    <p:sldMasterId id="2147483728" r:id="rId6"/>
    <p:sldMasterId id="2147483984" r:id="rId7"/>
    <p:sldMasterId id="2147484045" r:id="rId8"/>
    <p:sldMasterId id="2147484067" r:id="rId9"/>
    <p:sldMasterId id="2147484100" r:id="rId10"/>
    <p:sldMasterId id="2147484118" r:id="rId11"/>
    <p:sldMasterId id="2147484136" r:id="rId12"/>
    <p:sldMasterId id="2147484154" r:id="rId13"/>
    <p:sldMasterId id="2147484172" r:id="rId14"/>
    <p:sldMasterId id="2147484191" r:id="rId15"/>
    <p:sldMasterId id="2147484202" r:id="rId16"/>
    <p:sldMasterId id="2147484213" r:id="rId17"/>
  </p:sldMasterIdLst>
  <p:notesMasterIdLst>
    <p:notesMasterId r:id="rId39"/>
  </p:notesMasterIdLst>
  <p:sldIdLst>
    <p:sldId id="350" r:id="rId18"/>
    <p:sldId id="512" r:id="rId19"/>
    <p:sldId id="522" r:id="rId20"/>
    <p:sldId id="540" r:id="rId21"/>
    <p:sldId id="525" r:id="rId22"/>
    <p:sldId id="539" r:id="rId23"/>
    <p:sldId id="527" r:id="rId24"/>
    <p:sldId id="541" r:id="rId25"/>
    <p:sldId id="535" r:id="rId26"/>
    <p:sldId id="536" r:id="rId27"/>
    <p:sldId id="516" r:id="rId28"/>
    <p:sldId id="528" r:id="rId29"/>
    <p:sldId id="499" r:id="rId30"/>
    <p:sldId id="500" r:id="rId31"/>
    <p:sldId id="501" r:id="rId32"/>
    <p:sldId id="534" r:id="rId33"/>
    <p:sldId id="538" r:id="rId34"/>
    <p:sldId id="537" r:id="rId35"/>
    <p:sldId id="543" r:id="rId36"/>
    <p:sldId id="533" r:id="rId37"/>
    <p:sldId id="530" r:id="rId38"/>
  </p:sldIdLst>
  <p:sldSz cx="12192000" cy="6858000"/>
  <p:notesSz cx="7026275" cy="93122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3397B52-5A2F-4A05-8629-75DADA62D4D6}">
          <p14:sldIdLst>
            <p14:sldId id="350"/>
            <p14:sldId id="512"/>
            <p14:sldId id="522"/>
            <p14:sldId id="540"/>
            <p14:sldId id="525"/>
            <p14:sldId id="539"/>
            <p14:sldId id="527"/>
            <p14:sldId id="541"/>
            <p14:sldId id="535"/>
            <p14:sldId id="536"/>
            <p14:sldId id="516"/>
            <p14:sldId id="528"/>
            <p14:sldId id="499"/>
            <p14:sldId id="500"/>
            <p14:sldId id="501"/>
            <p14:sldId id="534"/>
            <p14:sldId id="538"/>
            <p14:sldId id="537"/>
            <p14:sldId id="543"/>
            <p14:sldId id="533"/>
            <p14:sldId id="53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384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rah-Jane Caban" initials="SC" lastIdx="1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848A"/>
    <a:srgbClr val="224A8D"/>
    <a:srgbClr val="778ABC"/>
    <a:srgbClr val="B20838"/>
    <a:srgbClr val="D9D9D9"/>
    <a:srgbClr val="7499C6"/>
    <a:srgbClr val="243E8C"/>
    <a:srgbClr val="011923"/>
    <a:srgbClr val="DFDFDF"/>
    <a:srgbClr val="0F17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87" autoAdjust="0"/>
    <p:restoredTop sz="94316" autoAdjust="0"/>
  </p:normalViewPr>
  <p:slideViewPr>
    <p:cSldViewPr snapToGrid="0">
      <p:cViewPr varScale="1">
        <p:scale>
          <a:sx n="56" d="100"/>
          <a:sy n="56" d="100"/>
        </p:scale>
        <p:origin x="1062" y="60"/>
      </p:cViewPr>
      <p:guideLst>
        <p:guide orient="horz" pos="2160"/>
        <p:guide pos="3840"/>
        <p:guide pos="3841"/>
      </p:guideLst>
    </p:cSldViewPr>
  </p:slideViewPr>
  <p:outlineViewPr>
    <p:cViewPr>
      <p:scale>
        <a:sx n="33" d="100"/>
        <a:sy n="33" d="100"/>
      </p:scale>
      <p:origin x="0" y="6336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091062919805061E-2"/>
          <c:y val="6.1850706032014847E-2"/>
          <c:w val="0.91893406512972942"/>
          <c:h val="0.7785247499048556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achers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1.0974871950465478E-3"/>
                  <c:y val="-2.4939800819360827E-2"/>
                </c:manualLayout>
              </c:layout>
              <c:numFmt formatCode="#,##0" sourceLinked="0"/>
              <c:spPr/>
              <c:txPr>
                <a:bodyPr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8.6416314550473939E-8"/>
                  <c:y val="-3.4915721147105158E-2"/>
                </c:manualLayout>
              </c:layout>
              <c:numFmt formatCode="#,##0" sourceLinked="0"/>
              <c:spPr/>
              <c:txPr>
                <a:bodyPr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  <a:latin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4</c:f>
              <c:strCache>
                <c:ptCount val="13"/>
                <c:pt idx="0">
                  <c:v>'07-08</c:v>
                </c:pt>
                <c:pt idx="1">
                  <c:v>'08-09</c:v>
                </c:pt>
                <c:pt idx="2">
                  <c:v>'09-10</c:v>
                </c:pt>
                <c:pt idx="3">
                  <c:v>'10-11</c:v>
                </c:pt>
                <c:pt idx="4">
                  <c:v>'11-12</c:v>
                </c:pt>
                <c:pt idx="5">
                  <c:v>'12-13</c:v>
                </c:pt>
                <c:pt idx="6">
                  <c:v>'13-14</c:v>
                </c:pt>
                <c:pt idx="7">
                  <c:v>'14-15</c:v>
                </c:pt>
                <c:pt idx="8">
                  <c:v>'15-16</c:v>
                </c:pt>
                <c:pt idx="9">
                  <c:v>'16-17</c:v>
                </c:pt>
                <c:pt idx="10">
                  <c:v>'17-18</c:v>
                </c:pt>
                <c:pt idx="11">
                  <c:v>'18-19</c:v>
                </c:pt>
                <c:pt idx="12">
                  <c:v>'19-20</c:v>
                </c:pt>
              </c:strCache>
            </c:strRef>
          </c:cat>
          <c:val>
            <c:numRef>
              <c:f>Sheet1!$B$2:$B$14</c:f>
              <c:numCache>
                <c:formatCode>#,##0</c:formatCode>
                <c:ptCount val="13"/>
                <c:pt idx="0">
                  <c:v>30</c:v>
                </c:pt>
                <c:pt idx="1">
                  <c:v>100</c:v>
                </c:pt>
                <c:pt idx="2">
                  <c:v>220</c:v>
                </c:pt>
                <c:pt idx="3">
                  <c:v>260</c:v>
                </c:pt>
                <c:pt idx="4">
                  <c:v>290</c:v>
                </c:pt>
                <c:pt idx="5">
                  <c:v>640</c:v>
                </c:pt>
                <c:pt idx="6">
                  <c:v>890</c:v>
                </c:pt>
                <c:pt idx="7">
                  <c:v>1070</c:v>
                </c:pt>
                <c:pt idx="8">
                  <c:v>1160</c:v>
                </c:pt>
                <c:pt idx="9">
                  <c:v>1575</c:v>
                </c:pt>
                <c:pt idx="10">
                  <c:v>1750</c:v>
                </c:pt>
                <c:pt idx="11">
                  <c:v>1900</c:v>
                </c:pt>
                <c:pt idx="12">
                  <c:v>200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sidents</c:v>
                </c:pt>
              </c:strCache>
            </c:strRef>
          </c:tx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  <a:latin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4</c:f>
              <c:strCache>
                <c:ptCount val="13"/>
                <c:pt idx="0">
                  <c:v>'07-08</c:v>
                </c:pt>
                <c:pt idx="1">
                  <c:v>'08-09</c:v>
                </c:pt>
                <c:pt idx="2">
                  <c:v>'09-10</c:v>
                </c:pt>
                <c:pt idx="3">
                  <c:v>'10-11</c:v>
                </c:pt>
                <c:pt idx="4">
                  <c:v>'11-12</c:v>
                </c:pt>
                <c:pt idx="5">
                  <c:v>'12-13</c:v>
                </c:pt>
                <c:pt idx="6">
                  <c:v>'13-14</c:v>
                </c:pt>
                <c:pt idx="7">
                  <c:v>'14-15</c:v>
                </c:pt>
                <c:pt idx="8">
                  <c:v>'15-16</c:v>
                </c:pt>
                <c:pt idx="9">
                  <c:v>'16-17</c:v>
                </c:pt>
                <c:pt idx="10">
                  <c:v>'17-18</c:v>
                </c:pt>
                <c:pt idx="11">
                  <c:v>'18-19</c:v>
                </c:pt>
                <c:pt idx="12">
                  <c:v>'19-20</c:v>
                </c:pt>
              </c:strCache>
            </c:strRef>
          </c:cat>
          <c:val>
            <c:numRef>
              <c:f>Sheet1!$C$2:$C$14</c:f>
              <c:numCache>
                <c:formatCode>#,##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7">
                  <c:v>110</c:v>
                </c:pt>
                <c:pt idx="8">
                  <c:v>240</c:v>
                </c:pt>
                <c:pt idx="9">
                  <c:v>425</c:v>
                </c:pt>
                <c:pt idx="10">
                  <c:v>650</c:v>
                </c:pt>
                <c:pt idx="11">
                  <c:v>925</c:v>
                </c:pt>
                <c:pt idx="12">
                  <c:v>120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eaders</c:v>
                </c:pt>
              </c:strCache>
            </c:strRef>
          </c:tx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  <a:latin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4</c:f>
              <c:strCache>
                <c:ptCount val="13"/>
                <c:pt idx="0">
                  <c:v>'07-08</c:v>
                </c:pt>
                <c:pt idx="1">
                  <c:v>'08-09</c:v>
                </c:pt>
                <c:pt idx="2">
                  <c:v>'09-10</c:v>
                </c:pt>
                <c:pt idx="3">
                  <c:v>'10-11</c:v>
                </c:pt>
                <c:pt idx="4">
                  <c:v>'11-12</c:v>
                </c:pt>
                <c:pt idx="5">
                  <c:v>'12-13</c:v>
                </c:pt>
                <c:pt idx="6">
                  <c:v>'13-14</c:v>
                </c:pt>
                <c:pt idx="7">
                  <c:v>'14-15</c:v>
                </c:pt>
                <c:pt idx="8">
                  <c:v>'15-16</c:v>
                </c:pt>
                <c:pt idx="9">
                  <c:v>'16-17</c:v>
                </c:pt>
                <c:pt idx="10">
                  <c:v>'17-18</c:v>
                </c:pt>
                <c:pt idx="11">
                  <c:v>'18-19</c:v>
                </c:pt>
                <c:pt idx="12">
                  <c:v>'19-20</c:v>
                </c:pt>
              </c:strCache>
            </c:strRef>
          </c:cat>
          <c:val>
            <c:numRef>
              <c:f>Sheet1!$D$2:$D$14</c:f>
              <c:numCache>
                <c:formatCode>#,##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6">
                  <c:v>120</c:v>
                </c:pt>
                <c:pt idx="7">
                  <c:v>200</c:v>
                </c:pt>
                <c:pt idx="8">
                  <c:v>340</c:v>
                </c:pt>
                <c:pt idx="9">
                  <c:v>400</c:v>
                </c:pt>
                <c:pt idx="10">
                  <c:v>450</c:v>
                </c:pt>
                <c:pt idx="11">
                  <c:v>475</c:v>
                </c:pt>
                <c:pt idx="12">
                  <c:v>5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1"/>
        <c:overlap val="100"/>
        <c:axId val="228853488"/>
        <c:axId val="228853880"/>
      </c:barChart>
      <c:catAx>
        <c:axId val="22885348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 rot="0" vert="horz"/>
          <a:lstStyle/>
          <a:p>
            <a:pPr>
              <a:defRPr sz="1600">
                <a:latin typeface="Calibri" panose="020F0502020204030204" pitchFamily="34" charset="0"/>
              </a:defRPr>
            </a:pPr>
            <a:endParaRPr lang="en-US"/>
          </a:p>
        </c:txPr>
        <c:crossAx val="228853880"/>
        <c:crosses val="autoZero"/>
        <c:auto val="1"/>
        <c:lblAlgn val="ctr"/>
        <c:lblOffset val="100"/>
        <c:noMultiLvlLbl val="0"/>
      </c:catAx>
      <c:valAx>
        <c:axId val="228853880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ln w="6350">
            <a:noFill/>
          </a:ln>
        </c:spPr>
        <c:txPr>
          <a:bodyPr/>
          <a:lstStyle/>
          <a:p>
            <a:pPr>
              <a:defRPr>
                <a:latin typeface="Calibri" panose="020F0502020204030204" pitchFamily="34" charset="0"/>
              </a:defRPr>
            </a:pPr>
            <a:endParaRPr lang="en-US"/>
          </a:p>
        </c:txPr>
        <c:crossAx val="228853488"/>
        <c:crosses val="autoZero"/>
        <c:crossBetween val="between"/>
      </c:valAx>
    </c:plotArea>
    <c:legend>
      <c:legendPos val="b"/>
      <c:overlay val="0"/>
      <c:txPr>
        <a:bodyPr/>
        <a:lstStyle/>
        <a:p>
          <a:pPr>
            <a:defRPr>
              <a:latin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922276062467131E-2"/>
          <c:y val="8.5502363202004592E-2"/>
          <c:w val="0.86078993230302014"/>
          <c:h val="0.719434851259760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ational Average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latin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Teacher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1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lay Resident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latin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Teachers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0757456"/>
        <c:axId val="230757848"/>
      </c:barChart>
      <c:catAx>
        <c:axId val="23075745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600">
                    <a:latin typeface="Calibri" panose="020F0502020204030204" pitchFamily="34" charset="0"/>
                  </a:defRPr>
                </a:pPr>
                <a:r>
                  <a:rPr lang="en-US" sz="1600" b="0" dirty="0" smtClean="0">
                    <a:latin typeface="Calibri" panose="020F0502020204030204" pitchFamily="34" charset="0"/>
                  </a:rPr>
                  <a:t>Teachers of Color</a:t>
                </a:r>
                <a:endParaRPr lang="en-US" sz="1600" b="0" dirty="0">
                  <a:latin typeface="Calibri" panose="020F0502020204030204" pitchFamily="34" charset="0"/>
                </a:endParaRPr>
              </a:p>
            </c:rich>
          </c:tx>
          <c:overlay val="0"/>
        </c:title>
        <c:numFmt formatCode="General" sourceLinked="0"/>
        <c:majorTickMark val="none"/>
        <c:minorTickMark val="none"/>
        <c:tickLblPos val="none"/>
        <c:crossAx val="230757848"/>
        <c:crosses val="autoZero"/>
        <c:auto val="1"/>
        <c:lblAlgn val="ctr"/>
        <c:lblOffset val="100"/>
        <c:noMultiLvlLbl val="0"/>
      </c:catAx>
      <c:valAx>
        <c:axId val="230757848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one"/>
        <c:crossAx val="23075745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3.7186103049158543E-2"/>
          <c:y val="0.9107371144557912"/>
          <c:w val="0.89999976404650806"/>
          <c:h val="7.1781073669636486E-2"/>
        </c:manualLayout>
      </c:layout>
      <c:overlay val="0"/>
      <c:txPr>
        <a:bodyPr/>
        <a:lstStyle/>
        <a:p>
          <a:pPr>
            <a:defRPr sz="1600">
              <a:latin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2777</cdr:x>
      <cdr:y>0.05541</cdr:y>
    </cdr:from>
    <cdr:to>
      <cdr:x>1</cdr:x>
      <cdr:y>0.11585</cdr:y>
    </cdr:to>
    <cdr:sp macro="" textlink="">
      <cdr:nvSpPr>
        <cdr:cNvPr id="2" name="TextBox 3"/>
        <cdr:cNvSpPr txBox="1"/>
      </cdr:nvSpPr>
      <cdr:spPr>
        <a:xfrm xmlns:a="http://schemas.openxmlformats.org/drawingml/2006/main">
          <a:off x="10736104" y="282163"/>
          <a:ext cx="835785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 smtClean="0">
              <a:latin typeface="Calibri" panose="020F0502020204030204" pitchFamily="34" charset="0"/>
            </a:rPr>
            <a:t>3,700</a:t>
          </a:r>
          <a:endParaRPr lang="en-US" sz="1400" dirty="0">
            <a:latin typeface="Calibri" panose="020F0502020204030204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4719" cy="467231"/>
          </a:xfrm>
          <a:prstGeom prst="rect">
            <a:avLst/>
          </a:prstGeom>
        </p:spPr>
        <p:txBody>
          <a:bodyPr vert="horz" lIns="93360" tIns="46680" rIns="93360" bIns="4668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9930" y="0"/>
            <a:ext cx="3044719" cy="467231"/>
          </a:xfrm>
          <a:prstGeom prst="rect">
            <a:avLst/>
          </a:prstGeom>
        </p:spPr>
        <p:txBody>
          <a:bodyPr vert="horz" lIns="93360" tIns="46680" rIns="93360" bIns="46680" rtlCol="0"/>
          <a:lstStyle>
            <a:lvl1pPr algn="r">
              <a:defRPr sz="1200"/>
            </a:lvl1pPr>
          </a:lstStyle>
          <a:p>
            <a:fld id="{8F5123C2-07A0-4CF7-AAB9-D6A6EA179EC5}" type="datetimeFigureOut">
              <a:rPr lang="en-US" smtClean="0"/>
              <a:t>9/9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8000" cy="31432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60" tIns="46680" rIns="93360" bIns="4668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628" y="4481532"/>
            <a:ext cx="5621020" cy="3666708"/>
          </a:xfrm>
          <a:prstGeom prst="rect">
            <a:avLst/>
          </a:prstGeom>
        </p:spPr>
        <p:txBody>
          <a:bodyPr vert="horz" lIns="93360" tIns="46680" rIns="93360" bIns="4668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5046"/>
            <a:ext cx="3044719" cy="467230"/>
          </a:xfrm>
          <a:prstGeom prst="rect">
            <a:avLst/>
          </a:prstGeom>
        </p:spPr>
        <p:txBody>
          <a:bodyPr vert="horz" lIns="93360" tIns="46680" rIns="93360" bIns="4668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9930" y="8845046"/>
            <a:ext cx="3044719" cy="467230"/>
          </a:xfrm>
          <a:prstGeom prst="rect">
            <a:avLst/>
          </a:prstGeom>
        </p:spPr>
        <p:txBody>
          <a:bodyPr vert="horz" lIns="93360" tIns="46680" rIns="93360" bIns="46680" rtlCol="0" anchor="b"/>
          <a:lstStyle>
            <a:lvl1pPr algn="r">
              <a:defRPr sz="1200"/>
            </a:lvl1pPr>
          </a:lstStyle>
          <a:p>
            <a:fld id="{E47E2AF9-3A45-4FE5-A745-1099088620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8566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Study</a:t>
            </a:r>
            <a:r>
              <a:rPr lang="en-US" baseline="0" smtClean="0"/>
              <a:t> Link: http://www.dallasisd.org/cms/lib/TX01001475/Centricity/Shared/evalacct/research/articles/Jordan-Teacher-Effects-on-Longitudinal-Student-Achievement-1997.pdf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E2AF9-3A45-4FE5-A745-1099088620FF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0053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3638"/>
            <a:ext cx="5588000" cy="31432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E2AF9-3A45-4FE5-A745-1099088620FF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424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E2AF9-3A45-4FE5-A745-1099088620FF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8500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E2AF9-3A45-4FE5-A745-1099088620FF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09512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9" y="6509699"/>
            <a:ext cx="346570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0934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428985" y="1495633"/>
            <a:ext cx="5157787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28985" y="2319545"/>
            <a:ext cx="5157787" cy="36845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96284" y="1495633"/>
            <a:ext cx="5183187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6596284" y="2319545"/>
            <a:ext cx="5183187" cy="36845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12834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0" y="268845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61874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-2" y="1602925"/>
            <a:ext cx="5792593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792592" y="1602925"/>
            <a:ext cx="6400800" cy="4572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191930" y="1822891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171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sz="3200"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4696" y="1528451"/>
            <a:ext cx="11516730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>
                <a:latin typeface="Calibri" panose="020F0502020204030204" pitchFamily="34" charset="0"/>
              </a:defRPr>
            </a:lvl1pPr>
            <a:lvl2pPr>
              <a:defRPr sz="2400">
                <a:latin typeface="Calibri" panose="020F0502020204030204" pitchFamily="34" charset="0"/>
              </a:defRPr>
            </a:lvl2pPr>
            <a:lvl3pPr>
              <a:defRPr sz="2400">
                <a:latin typeface="Calibri" panose="020F0502020204030204" pitchFamily="34" charset="0"/>
              </a:defRPr>
            </a:lvl3pPr>
            <a:lvl4pPr>
              <a:defRPr sz="2400">
                <a:latin typeface="Calibri" panose="020F0502020204030204" pitchFamily="34" charset="0"/>
              </a:defRPr>
            </a:lvl4pPr>
            <a:lvl5pPr>
              <a:defRPr sz="24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3191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6406952" y="1602925"/>
            <a:ext cx="5779277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6606623" y="1851472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52" y="1602925"/>
            <a:ext cx="6400800" cy="4572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659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2239617" y="1147979"/>
            <a:ext cx="7712766" cy="4119354"/>
          </a:xfrm>
          <a:prstGeom prst="rect">
            <a:avLst/>
          </a:prstGeom>
          <a:solidFill>
            <a:schemeClr val="accent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014869" y="2574091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360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46698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90330" y="1573834"/>
            <a:ext cx="5181600" cy="435133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6494569" y="1573834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6397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428970" y="1495633"/>
            <a:ext cx="5157787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28970" y="2319545"/>
            <a:ext cx="5157787" cy="3684588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96270" y="1495633"/>
            <a:ext cx="5183188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6596270" y="2319545"/>
            <a:ext cx="5183188" cy="3684588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01144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with Picture &amp;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-2" y="1602925"/>
            <a:ext cx="5792593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792592" y="1602925"/>
            <a:ext cx="6400800" cy="4572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191930" y="1822891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257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ing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4696" y="1528451"/>
            <a:ext cx="11516730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1458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with Picture &amp; Headin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1199638"/>
            <a:ext cx="12192000" cy="5658362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83702" y="202366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3600" kern="1200" dirty="0">
                <a:solidFill>
                  <a:srgbClr val="7499C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37178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02: Title + White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042020" y="6401483"/>
            <a:ext cx="346570" cy="25391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F62E944-E5BB-453D-B67A-6386AA4F48EB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3024138" y="6451610"/>
            <a:ext cx="6163733" cy="365125"/>
          </a:xfrm>
          <a:prstGeom prst="rect">
            <a:avLst/>
          </a:prstGeom>
        </p:spPr>
        <p:txBody>
          <a:bodyPr vert="horz" lIns="98097" tIns="49048" rIns="98097" bIns="49048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kern="1200" dirty="0" smtClean="0">
                <a:solidFill>
                  <a:srgbClr val="1F497D"/>
                </a:solidFill>
                <a:effectLst/>
                <a:latin typeface="+mj-lt"/>
                <a:ea typeface="+mn-ea"/>
                <a:cs typeface="Helvetica"/>
              </a:rPr>
              <a:t>© </a:t>
            </a:r>
            <a:r>
              <a:rPr lang="en-US" sz="1000" kern="1200" dirty="0" smtClean="0">
                <a:solidFill>
                  <a:schemeClr val="tx2"/>
                </a:solidFill>
                <a:effectLst/>
                <a:latin typeface="+mj-lt"/>
                <a:ea typeface="+mn-ea"/>
                <a:cs typeface="Helvetica"/>
              </a:rPr>
              <a:t>2015 Relay Graduate School of Education. All rights reserved.</a:t>
            </a:r>
            <a:endParaRPr lang="en-US" sz="1000" dirty="0">
              <a:solidFill>
                <a:schemeClr val="tx2"/>
              </a:solidFill>
              <a:latin typeface="+mj-lt"/>
              <a:cs typeface="Helvetica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11468" y="6464304"/>
            <a:ext cx="2844800" cy="365125"/>
          </a:xfrm>
          <a:prstGeom prst="rect">
            <a:avLst/>
          </a:prstGeom>
        </p:spPr>
        <p:txBody>
          <a:bodyPr vert="horz" lIns="98097" tIns="49048" rIns="98097" bIns="4904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C6E7F8CA-8E1F-DF41-9FD6-68CF1A5A635F}" type="slidenum">
              <a:rPr lang="en-US" sz="1000" smtClean="0">
                <a:solidFill>
                  <a:srgbClr val="778ABC"/>
                </a:solidFill>
                <a:latin typeface="+mj-lt"/>
                <a:cs typeface="Helvetica"/>
              </a:rPr>
              <a:pPr algn="l"/>
              <a:t>‹#›</a:t>
            </a:fld>
            <a:endParaRPr lang="en-US" sz="1000" dirty="0">
              <a:solidFill>
                <a:srgbClr val="778ABC"/>
              </a:solidFill>
              <a:latin typeface="+mj-lt"/>
              <a:cs typeface="Helvetica"/>
            </a:endParaRPr>
          </a:p>
        </p:txBody>
      </p:sp>
      <p:pic>
        <p:nvPicPr>
          <p:cNvPr id="7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36" y="6432564"/>
            <a:ext cx="1557879" cy="246461"/>
          </a:xfrm>
          <a:prstGeom prst="rect">
            <a:avLst/>
          </a:prstGeom>
          <a:noFill/>
        </p:spPr>
      </p:pic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86" y="7"/>
            <a:ext cx="11714429" cy="1053501"/>
          </a:xfrm>
        </p:spPr>
        <p:txBody>
          <a:bodyPr anchor="ctr">
            <a:noAutofit/>
          </a:bodyPr>
          <a:lstStyle>
            <a:lvl1pPr>
              <a:defRPr sz="39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3477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mpu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>
          <a:xfrm>
            <a:off x="199818" y="1489144"/>
            <a:ext cx="11615500" cy="15112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186109"/>
            <a:ext cx="12192000" cy="3200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14073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Gray">
    <p:bg>
      <p:bgPr>
        <a:solidFill>
          <a:srgbClr val="DDDE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8037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ay">
    <p:bg>
      <p:bgPr>
        <a:solidFill>
          <a:srgbClr val="8184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4357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">
    <p:bg>
      <p:bgPr>
        <a:solidFill>
          <a:srgbClr val="778A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tx2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5061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">
    <p:bg>
      <p:bgPr>
        <a:solidFill>
          <a:srgbClr val="23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1713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1" y="0"/>
            <a:ext cx="12192000" cy="6858000"/>
            <a:chOff x="0" y="0"/>
            <a:chExt cx="12188825" cy="6858000"/>
          </a:xfrm>
        </p:grpSpPr>
        <p:pic>
          <p:nvPicPr>
            <p:cNvPr id="2050" name="Picture 2" descr="C:\Users\schen\Desktop\RGSE_PPTSlides.jp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1" name="Picture 3" descr="C:\Users\schen\Desktop\RGSE_PPTSlides.jpg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315" r="20817"/>
            <a:stretch/>
          </p:blipFill>
          <p:spPr bwMode="auto">
            <a:xfrm>
              <a:off x="8909050" y="0"/>
              <a:ext cx="3279775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Rectangle 6"/>
          <p:cNvSpPr/>
          <p:nvPr userDrawn="1"/>
        </p:nvSpPr>
        <p:spPr>
          <a:xfrm>
            <a:off x="619010" y="421286"/>
            <a:ext cx="10926833" cy="595579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59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01: Agenda and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3024124" y="6451600"/>
            <a:ext cx="6163733" cy="365125"/>
          </a:xfrm>
          <a:prstGeom prst="rect">
            <a:avLst/>
          </a:prstGeom>
        </p:spPr>
        <p:txBody>
          <a:bodyPr vert="horz" lIns="90263" tIns="45131" rIns="90263" bIns="45131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22" kern="1200" dirty="0" smtClean="0">
                <a:solidFill>
                  <a:srgbClr val="1F497D"/>
                </a:solidFill>
                <a:effectLst/>
                <a:latin typeface="+mj-lt"/>
                <a:ea typeface="+mn-ea"/>
                <a:cs typeface="Helvetica"/>
              </a:rPr>
              <a:t>© </a:t>
            </a:r>
            <a:r>
              <a:rPr lang="en-US" sz="922" kern="1200" dirty="0" smtClean="0">
                <a:solidFill>
                  <a:schemeClr val="tx2"/>
                </a:solidFill>
                <a:effectLst/>
                <a:latin typeface="+mj-lt"/>
                <a:ea typeface="+mn-ea"/>
                <a:cs typeface="Helvetica"/>
              </a:rPr>
              <a:t>2013 Relay Graduate School of Education. All rights reserved.</a:t>
            </a:r>
            <a:endParaRPr lang="en-US" sz="922" dirty="0">
              <a:solidFill>
                <a:schemeClr val="tx2"/>
              </a:solidFill>
              <a:latin typeface="+mj-lt"/>
              <a:cs typeface="Helvetica"/>
            </a:endParaRP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311467" y="6464300"/>
            <a:ext cx="2844800" cy="365125"/>
          </a:xfrm>
          <a:prstGeom prst="rect">
            <a:avLst/>
          </a:prstGeom>
        </p:spPr>
        <p:txBody>
          <a:bodyPr vert="horz" lIns="90263" tIns="45131" rIns="90263" bIns="45131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C6E7F8CA-8E1F-DF41-9FD6-68CF1A5A635F}" type="slidenum">
              <a:rPr lang="en-US" sz="922" smtClean="0">
                <a:solidFill>
                  <a:srgbClr val="778ABC"/>
                </a:solidFill>
                <a:latin typeface="+mj-lt"/>
                <a:cs typeface="Helvetica"/>
              </a:rPr>
              <a:pPr algn="l"/>
              <a:t>‹#›</a:t>
            </a:fld>
            <a:endParaRPr lang="en-US" sz="922" dirty="0">
              <a:solidFill>
                <a:srgbClr val="778ABC"/>
              </a:solidFill>
              <a:latin typeface="+mj-lt"/>
              <a:cs typeface="Helvetica"/>
            </a:endParaRPr>
          </a:p>
        </p:txBody>
      </p:sp>
      <p:pic>
        <p:nvPicPr>
          <p:cNvPr id="10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88"/>
            <a:ext cx="1557878" cy="24646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 userDrawn="1"/>
        </p:nvSpPr>
        <p:spPr>
          <a:xfrm>
            <a:off x="486482" y="1138036"/>
            <a:ext cx="4171481" cy="482124"/>
          </a:xfrm>
          <a:prstGeom prst="rect">
            <a:avLst/>
          </a:prstGeom>
          <a:noFill/>
        </p:spPr>
        <p:txBody>
          <a:bodyPr wrap="square" lIns="84142" tIns="42071" rIns="84142" bIns="42071" rtlCol="0">
            <a:spAutoFit/>
          </a:bodyPr>
          <a:lstStyle/>
          <a:p>
            <a:r>
              <a:rPr lang="en-US" sz="2581" b="1" u="sng" cap="small" dirty="0" smtClean="0">
                <a:solidFill>
                  <a:srgbClr val="000000"/>
                </a:solidFill>
                <a:latin typeface="+mj-lt"/>
              </a:rPr>
              <a:t>Agenda</a:t>
            </a:r>
            <a:endParaRPr lang="en-US" sz="2581" b="1" u="sng" cap="small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501503" y="1647477"/>
            <a:ext cx="5147822" cy="4714539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 marL="168285" indent="-168285">
              <a:buFont typeface="Arial"/>
              <a:buChar char="•"/>
              <a:defRPr cap="none"/>
            </a:lvl1pPr>
            <a:lvl2pPr marL="504833" indent="-168285">
              <a:spcBef>
                <a:spcPts val="277"/>
              </a:spcBef>
              <a:buFont typeface="Lucida Grande"/>
              <a:buChar char="-"/>
              <a:defRPr sz="2212">
                <a:solidFill>
                  <a:srgbClr val="4C4C4C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6014018" y="1268131"/>
            <a:ext cx="5896085" cy="5168597"/>
          </a:xfrm>
          <a:prstGeom prst="rect">
            <a:avLst/>
          </a:prstGeom>
          <a:noFill/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4142" tIns="42071" rIns="84142" bIns="42071" rtlCol="0" anchor="ctr"/>
          <a:lstStyle/>
          <a:p>
            <a:pPr algn="ctr"/>
            <a:endParaRPr lang="en-US" sz="1659">
              <a:ln>
                <a:solidFill>
                  <a:schemeClr val="tx2"/>
                </a:solidFill>
              </a:ln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6072376" y="1202636"/>
            <a:ext cx="5764016" cy="482124"/>
          </a:xfrm>
          <a:prstGeom prst="rect">
            <a:avLst/>
          </a:prstGeom>
          <a:noFill/>
        </p:spPr>
        <p:txBody>
          <a:bodyPr wrap="square" lIns="84142" tIns="42071" rIns="84142" bIns="42071" rtlCol="0">
            <a:spAutoFit/>
          </a:bodyPr>
          <a:lstStyle/>
          <a:p>
            <a:r>
              <a:rPr lang="en-US" sz="2581" b="1" u="sng" cap="small" dirty="0" smtClean="0">
                <a:solidFill>
                  <a:srgbClr val="000000"/>
                </a:solidFill>
                <a:latin typeface="+mj-lt"/>
              </a:rPr>
              <a:t>Objectives</a:t>
            </a:r>
            <a:endParaRPr lang="en-US" sz="2581" b="1" u="sng" cap="small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 hasCustomPrompt="1"/>
          </p:nvPr>
        </p:nvSpPr>
        <p:spPr>
          <a:xfrm>
            <a:off x="6190520" y="1635968"/>
            <a:ext cx="5645291" cy="4753911"/>
          </a:xfrm>
        </p:spPr>
        <p:txBody>
          <a:bodyPr>
            <a:noAutofit/>
          </a:bodyPr>
          <a:lstStyle>
            <a:lvl1pPr marL="252417" indent="-252417">
              <a:spcBef>
                <a:spcPts val="277"/>
              </a:spcBef>
              <a:buFont typeface="Wingdings" charset="2"/>
              <a:buChar char="q"/>
              <a:defRPr sz="1843" cap="none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Type the objective here</a:t>
            </a:r>
          </a:p>
        </p:txBody>
      </p:sp>
      <p:sp>
        <p:nvSpPr>
          <p:cNvPr id="35" name="TextBox 34"/>
          <p:cNvSpPr txBox="1"/>
          <p:nvPr userDrawn="1"/>
        </p:nvSpPr>
        <p:spPr>
          <a:xfrm>
            <a:off x="486427" y="0"/>
            <a:ext cx="11705573" cy="1062163"/>
          </a:xfrm>
          <a:prstGeom prst="rect">
            <a:avLst/>
          </a:prstGeom>
          <a:noFill/>
        </p:spPr>
        <p:txBody>
          <a:bodyPr wrap="square" lIns="84142" tIns="42071" rIns="84142" bIns="42071" rtlCol="0" anchor="ctr" anchorCtr="0">
            <a:noAutofit/>
          </a:bodyPr>
          <a:lstStyle/>
          <a:p>
            <a:pPr marL="336567" indent="-336567" algn="l">
              <a:spcBef>
                <a:spcPts val="22"/>
              </a:spcBef>
              <a:spcAft>
                <a:spcPts val="0"/>
              </a:spcAft>
            </a:pPr>
            <a:r>
              <a:rPr lang="en-US" sz="3595" dirty="0" smtClean="0">
                <a:latin typeface="+mj-lt"/>
              </a:rPr>
              <a:t>Agenda</a:t>
            </a:r>
            <a:r>
              <a:rPr lang="en-US" sz="3595" baseline="0" dirty="0" smtClean="0">
                <a:latin typeface="+mj-lt"/>
              </a:rPr>
              <a:t> and</a:t>
            </a:r>
            <a:r>
              <a:rPr lang="en-US" sz="3595" dirty="0" smtClean="0">
                <a:latin typeface="+mj-lt"/>
              </a:rPr>
              <a:t> O</a:t>
            </a:r>
            <a:r>
              <a:rPr lang="en-US" sz="3595" baseline="0" dirty="0" smtClean="0">
                <a:latin typeface="+mj-lt"/>
              </a:rPr>
              <a:t>bjectives</a:t>
            </a:r>
            <a:endParaRPr lang="en-US" sz="3595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62625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08261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0" y="268845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31317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-2" y="1602925"/>
            <a:ext cx="5792593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792592" y="1602925"/>
            <a:ext cx="6400800" cy="4572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191930" y="1822891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939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01: Title + White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042023" y="6401483"/>
            <a:ext cx="346546" cy="253904"/>
          </a:xfrm>
          <a:prstGeom prst="rect">
            <a:avLst/>
          </a:prstGeom>
        </p:spPr>
        <p:txBody>
          <a:bodyPr lIns="91428" tIns="45714" rIns="91428" bIns="45714"/>
          <a:lstStyle/>
          <a:p>
            <a:pPr>
              <a:defRPr/>
            </a:pPr>
            <a:fld id="{8F62E944-E5BB-453D-B67A-6386AA4F48EB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3024138" y="6451610"/>
            <a:ext cx="6163733" cy="365125"/>
          </a:xfrm>
          <a:prstGeom prst="rect">
            <a:avLst/>
          </a:prstGeom>
        </p:spPr>
        <p:txBody>
          <a:bodyPr vert="horz" lIns="90404" tIns="45202" rIns="90404" bIns="4520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22" kern="1200" dirty="0" smtClean="0">
                <a:solidFill>
                  <a:srgbClr val="1F497D"/>
                </a:solidFill>
                <a:effectLst/>
                <a:latin typeface="+mj-lt"/>
                <a:ea typeface="+mn-ea"/>
                <a:cs typeface="Helvetica"/>
              </a:rPr>
              <a:t>© </a:t>
            </a:r>
            <a:r>
              <a:rPr lang="en-US" sz="922" kern="1200" dirty="0" smtClean="0">
                <a:solidFill>
                  <a:schemeClr val="tx2"/>
                </a:solidFill>
                <a:effectLst/>
                <a:latin typeface="+mj-lt"/>
                <a:ea typeface="+mn-ea"/>
                <a:cs typeface="Helvetica"/>
              </a:rPr>
              <a:t>2014 Relay Graduate School of Education. All rights reserved.</a:t>
            </a:r>
            <a:endParaRPr lang="en-US" sz="922" dirty="0">
              <a:solidFill>
                <a:schemeClr val="tx2"/>
              </a:solidFill>
              <a:latin typeface="+mj-lt"/>
              <a:cs typeface="Helvetica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11468" y="6464304"/>
            <a:ext cx="2844800" cy="365125"/>
          </a:xfrm>
          <a:prstGeom prst="rect">
            <a:avLst/>
          </a:prstGeom>
        </p:spPr>
        <p:txBody>
          <a:bodyPr vert="horz" lIns="90404" tIns="45202" rIns="90404" bIns="4520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C6E7F8CA-8E1F-DF41-9FD6-68CF1A5A635F}" type="slidenum">
              <a:rPr lang="en-US" sz="922" smtClean="0">
                <a:solidFill>
                  <a:srgbClr val="778ABC"/>
                </a:solidFill>
                <a:latin typeface="+mj-lt"/>
                <a:cs typeface="Helvetica"/>
              </a:rPr>
              <a:pPr algn="l"/>
              <a:t>‹#›</a:t>
            </a:fld>
            <a:endParaRPr lang="en-US" sz="922" dirty="0">
              <a:solidFill>
                <a:srgbClr val="778ABC"/>
              </a:solidFill>
              <a:latin typeface="+mj-lt"/>
              <a:cs typeface="Helvetica"/>
            </a:endParaRPr>
          </a:p>
        </p:txBody>
      </p:sp>
      <p:pic>
        <p:nvPicPr>
          <p:cNvPr id="7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36" y="6432567"/>
            <a:ext cx="1557879" cy="246461"/>
          </a:xfrm>
          <a:prstGeom prst="rect">
            <a:avLst/>
          </a:prstGeom>
          <a:noFill/>
        </p:spPr>
      </p:pic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89" y="7"/>
            <a:ext cx="11714429" cy="1053501"/>
          </a:xfrm>
        </p:spPr>
        <p:txBody>
          <a:bodyPr anchor="ctr">
            <a:noAutofit/>
          </a:bodyPr>
          <a:lstStyle>
            <a:lvl1pPr>
              <a:defRPr sz="3595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9154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sz="3200"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4696" y="1528451"/>
            <a:ext cx="11516730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>
                <a:latin typeface="Calibri" panose="020F0502020204030204" pitchFamily="34" charset="0"/>
              </a:defRPr>
            </a:lvl1pPr>
            <a:lvl2pPr>
              <a:defRPr sz="2400">
                <a:latin typeface="Calibri" panose="020F0502020204030204" pitchFamily="34" charset="0"/>
              </a:defRPr>
            </a:lvl2pPr>
            <a:lvl3pPr>
              <a:defRPr sz="2400">
                <a:latin typeface="Calibri" panose="020F0502020204030204" pitchFamily="34" charset="0"/>
              </a:defRPr>
            </a:lvl3pPr>
            <a:lvl4pPr>
              <a:defRPr sz="2400">
                <a:latin typeface="Calibri" panose="020F0502020204030204" pitchFamily="34" charset="0"/>
              </a:defRPr>
            </a:lvl4pPr>
            <a:lvl5pPr>
              <a:defRPr sz="24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6720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6406952" y="1602925"/>
            <a:ext cx="5779277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6606623" y="1851472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52" y="1602925"/>
            <a:ext cx="6400800" cy="4572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541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2239617" y="1147979"/>
            <a:ext cx="7712766" cy="4119354"/>
          </a:xfrm>
          <a:prstGeom prst="rect">
            <a:avLst/>
          </a:prstGeom>
          <a:solidFill>
            <a:schemeClr val="accent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014869" y="2574091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360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24866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90330" y="1573834"/>
            <a:ext cx="5181600" cy="435133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6494569" y="1573834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357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428970" y="1495633"/>
            <a:ext cx="5157787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28970" y="2319545"/>
            <a:ext cx="5157787" cy="3684588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96270" y="1495633"/>
            <a:ext cx="5183188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6596270" y="2319545"/>
            <a:ext cx="5183188" cy="3684588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901397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with Picture &amp;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-2" y="1602925"/>
            <a:ext cx="5792593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792592" y="1602925"/>
            <a:ext cx="6400800" cy="4572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191930" y="1822891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376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ing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4696" y="1528451"/>
            <a:ext cx="11516730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742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with Picture &amp; Headin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1199638"/>
            <a:ext cx="12192000" cy="5658362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83702" y="202366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3600" kern="1200" dirty="0">
                <a:solidFill>
                  <a:srgbClr val="7499C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146402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mpu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>
          <a:xfrm>
            <a:off x="199818" y="1489144"/>
            <a:ext cx="11615500" cy="15112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186109"/>
            <a:ext cx="12192000" cy="3200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36097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Gray">
    <p:bg>
      <p:bgPr>
        <a:solidFill>
          <a:srgbClr val="DDDE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5040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01: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042023" y="6401483"/>
            <a:ext cx="346546" cy="253904"/>
          </a:xfrm>
          <a:prstGeom prst="rect">
            <a:avLst/>
          </a:prstGeom>
        </p:spPr>
        <p:txBody>
          <a:bodyPr lIns="91428" tIns="45714" rIns="91428" bIns="45714"/>
          <a:lstStyle/>
          <a:p>
            <a:pPr>
              <a:defRPr/>
            </a:pPr>
            <a:fld id="{8F62E944-E5BB-453D-B67A-6386AA4F48EB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3024138" y="6451610"/>
            <a:ext cx="6163733" cy="365125"/>
          </a:xfrm>
          <a:prstGeom prst="rect">
            <a:avLst/>
          </a:prstGeom>
        </p:spPr>
        <p:txBody>
          <a:bodyPr vert="horz" lIns="90404" tIns="45202" rIns="90404" bIns="4520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22" kern="1200" dirty="0" smtClean="0">
                <a:solidFill>
                  <a:srgbClr val="1F497D"/>
                </a:solidFill>
                <a:effectLst/>
                <a:latin typeface="+mj-lt"/>
                <a:ea typeface="+mn-ea"/>
                <a:cs typeface="Helvetica"/>
              </a:rPr>
              <a:t>© </a:t>
            </a:r>
            <a:r>
              <a:rPr lang="en-US" sz="922" kern="1200" dirty="0" smtClean="0">
                <a:solidFill>
                  <a:schemeClr val="tx2"/>
                </a:solidFill>
                <a:effectLst/>
                <a:latin typeface="+mj-lt"/>
                <a:ea typeface="+mn-ea"/>
                <a:cs typeface="Helvetica"/>
              </a:rPr>
              <a:t>2014 Relay Graduate School of Education. All rights reserved.</a:t>
            </a:r>
            <a:endParaRPr lang="en-US" sz="922" dirty="0">
              <a:solidFill>
                <a:schemeClr val="tx2"/>
              </a:solidFill>
              <a:latin typeface="+mj-lt"/>
              <a:cs typeface="Helvetica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11468" y="6464304"/>
            <a:ext cx="2844800" cy="365125"/>
          </a:xfrm>
          <a:prstGeom prst="rect">
            <a:avLst/>
          </a:prstGeom>
        </p:spPr>
        <p:txBody>
          <a:bodyPr vert="horz" lIns="90404" tIns="45202" rIns="90404" bIns="4520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C6E7F8CA-8E1F-DF41-9FD6-68CF1A5A635F}" type="slidenum">
              <a:rPr lang="en-US" sz="922" smtClean="0">
                <a:solidFill>
                  <a:srgbClr val="778ABC"/>
                </a:solidFill>
                <a:latin typeface="+mj-lt"/>
                <a:cs typeface="Helvetica"/>
              </a:rPr>
              <a:pPr algn="l"/>
              <a:t>‹#›</a:t>
            </a:fld>
            <a:endParaRPr lang="en-US" sz="922" dirty="0">
              <a:solidFill>
                <a:srgbClr val="778ABC"/>
              </a:solidFill>
              <a:latin typeface="+mj-lt"/>
              <a:cs typeface="Helvetica"/>
            </a:endParaRPr>
          </a:p>
        </p:txBody>
      </p:sp>
      <p:pic>
        <p:nvPicPr>
          <p:cNvPr id="7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36" y="6432567"/>
            <a:ext cx="1557879" cy="246461"/>
          </a:xfrm>
          <a:prstGeom prst="rect">
            <a:avLst/>
          </a:prstGeom>
          <a:noFill/>
        </p:spPr>
      </p:pic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89" y="7"/>
            <a:ext cx="11714429" cy="1053501"/>
          </a:xfrm>
        </p:spPr>
        <p:txBody>
          <a:bodyPr anchor="ctr">
            <a:noAutofit/>
          </a:bodyPr>
          <a:lstStyle>
            <a:lvl1pPr>
              <a:lnSpc>
                <a:spcPct val="75000"/>
              </a:lnSpc>
              <a:spcBef>
                <a:spcPts val="0"/>
              </a:spcBef>
              <a:defRPr sz="3595" b="1" cap="none" baseline="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679" y="1332975"/>
            <a:ext cx="11555239" cy="4930970"/>
          </a:xfrm>
        </p:spPr>
        <p:txBody>
          <a:bodyPr>
            <a:noAutofit/>
          </a:bodyPr>
          <a:lstStyle>
            <a:lvl1pPr marL="421346" indent="-421346">
              <a:buFont typeface="Arial"/>
              <a:buChar char="•"/>
              <a:defRPr sz="3318" cap="none"/>
            </a:lvl1pPr>
            <a:lvl2pPr marL="734534" indent="-282514">
              <a:buFont typeface="Lucida Grande"/>
              <a:buChar char="-"/>
              <a:defRPr sz="2949"/>
            </a:lvl2pPr>
            <a:lvl3pPr>
              <a:defRPr sz="2949"/>
            </a:lvl3pPr>
            <a:lvl4pPr marL="1582072" indent="-226010">
              <a:buFont typeface="Lucida Grande"/>
              <a:buChar char="-"/>
              <a:defRPr sz="2581"/>
            </a:lvl4pPr>
            <a:lvl5pPr>
              <a:defRPr sz="2212"/>
            </a:lvl5pPr>
          </a:lstStyle>
          <a:p>
            <a:pPr lvl="0"/>
            <a:r>
              <a:rPr lang="en-US" dirty="0" smtClean="0"/>
              <a:t>Bullet Level 1</a:t>
            </a:r>
          </a:p>
          <a:p>
            <a:pPr lvl="1"/>
            <a:r>
              <a:rPr lang="en-US" dirty="0" smtClean="0"/>
              <a:t>Bullet Level 2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645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ay">
    <p:bg>
      <p:bgPr>
        <a:solidFill>
          <a:srgbClr val="8184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6019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">
    <p:bg>
      <p:bgPr>
        <a:solidFill>
          <a:srgbClr val="778A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tx2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4613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">
    <p:bg>
      <p:bgPr>
        <a:solidFill>
          <a:srgbClr val="23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2175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1" y="0"/>
            <a:ext cx="12192000" cy="6858000"/>
            <a:chOff x="0" y="0"/>
            <a:chExt cx="12188825" cy="6858000"/>
          </a:xfrm>
        </p:grpSpPr>
        <p:pic>
          <p:nvPicPr>
            <p:cNvPr id="2050" name="Picture 2" descr="C:\Users\schen\Desktop\RGSE_PPTSlides.jp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1" name="Picture 3" descr="C:\Users\schen\Desktop\RGSE_PPTSlides.jpg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315" r="20817"/>
            <a:stretch/>
          </p:blipFill>
          <p:spPr bwMode="auto">
            <a:xfrm>
              <a:off x="8909050" y="0"/>
              <a:ext cx="3279775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Rectangle 6"/>
          <p:cNvSpPr/>
          <p:nvPr userDrawn="1"/>
        </p:nvSpPr>
        <p:spPr>
          <a:xfrm>
            <a:off x="619010" y="421286"/>
            <a:ext cx="10926833" cy="595579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179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70192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0" y="268845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31839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-2" y="1602925"/>
            <a:ext cx="5792593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792592" y="1602925"/>
            <a:ext cx="6400800" cy="4572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191930" y="1822891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4102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sz="3200"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4696" y="1528451"/>
            <a:ext cx="11516730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>
                <a:latin typeface="Calibri" panose="020F0502020204030204" pitchFamily="34" charset="0"/>
              </a:defRPr>
            </a:lvl1pPr>
            <a:lvl2pPr>
              <a:defRPr sz="2400">
                <a:latin typeface="Calibri" panose="020F0502020204030204" pitchFamily="34" charset="0"/>
              </a:defRPr>
            </a:lvl2pPr>
            <a:lvl3pPr>
              <a:defRPr sz="2400">
                <a:latin typeface="Calibri" panose="020F0502020204030204" pitchFamily="34" charset="0"/>
              </a:defRPr>
            </a:lvl3pPr>
            <a:lvl4pPr>
              <a:defRPr sz="2400">
                <a:latin typeface="Calibri" panose="020F0502020204030204" pitchFamily="34" charset="0"/>
              </a:defRPr>
            </a:lvl4pPr>
            <a:lvl5pPr>
              <a:defRPr sz="24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5262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6406952" y="1602925"/>
            <a:ext cx="5779277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6606623" y="1851472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52" y="1602925"/>
            <a:ext cx="6400800" cy="4572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225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2239617" y="1147979"/>
            <a:ext cx="7712766" cy="4119354"/>
          </a:xfrm>
          <a:prstGeom prst="rect">
            <a:avLst/>
          </a:prstGeom>
          <a:solidFill>
            <a:schemeClr val="accent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014869" y="2574091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360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9602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 userDrawn="1"/>
        </p:nvSpPr>
        <p:spPr>
          <a:xfrm>
            <a:off x="931334" y="6515100"/>
            <a:ext cx="198098" cy="406792"/>
          </a:xfrm>
          <a:prstGeom prst="rect">
            <a:avLst/>
          </a:prstGeom>
          <a:noFill/>
        </p:spPr>
        <p:txBody>
          <a:bodyPr wrap="none" lIns="98059" tIns="49029" rIns="98059" bIns="49029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pic>
        <p:nvPicPr>
          <p:cNvPr id="3" name="Picture 2" descr="relay_powerpoint_cover03a.ti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2000" cy="4174236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00639" y="4324834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3200" b="1" baseline="0"/>
            </a:lvl1pPr>
          </a:lstStyle>
          <a:p>
            <a:pPr lvl="0"/>
            <a:r>
              <a:rPr lang="en-US" dirty="0" smtClean="0"/>
              <a:t>Tit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16401" y="4768777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3200" b="0" cap="none" baseline="0"/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5811" y="5548708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2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resenter Nam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516401" y="5884265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20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Month Day, Year</a:t>
            </a:r>
          </a:p>
        </p:txBody>
      </p:sp>
    </p:spTree>
    <p:extLst>
      <p:ext uri="{BB962C8B-B14F-4D97-AF65-F5344CB8AC3E}">
        <p14:creationId xmlns:p14="http://schemas.microsoft.com/office/powerpoint/2010/main" val="16715496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90330" y="1573834"/>
            <a:ext cx="5181600" cy="435133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6494569" y="1573834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419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428970" y="1495633"/>
            <a:ext cx="5157787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28970" y="2319545"/>
            <a:ext cx="5157787" cy="3684588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96270" y="1495633"/>
            <a:ext cx="5183188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6596270" y="2319545"/>
            <a:ext cx="5183188" cy="3684588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35569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with Picture &amp;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-2" y="1602925"/>
            <a:ext cx="5792593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792592" y="1602925"/>
            <a:ext cx="6400800" cy="4572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191930" y="1822891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981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ing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4696" y="1528451"/>
            <a:ext cx="11516730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53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with Picture &amp; Headin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1199638"/>
            <a:ext cx="12192000" cy="5658362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83702" y="202366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3600" kern="1200" dirty="0">
                <a:solidFill>
                  <a:srgbClr val="7499C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40170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mpu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>
          <a:xfrm>
            <a:off x="199818" y="1489144"/>
            <a:ext cx="11615500" cy="15112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186109"/>
            <a:ext cx="12192000" cy="3200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65206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Gray">
    <p:bg>
      <p:bgPr>
        <a:solidFill>
          <a:srgbClr val="DDDE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8385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ay">
    <p:bg>
      <p:bgPr>
        <a:solidFill>
          <a:srgbClr val="8184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2347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">
    <p:bg>
      <p:bgPr>
        <a:solidFill>
          <a:srgbClr val="778A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tx2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2841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">
    <p:bg>
      <p:bgPr>
        <a:solidFill>
          <a:srgbClr val="23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5216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01: Agenda and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3024138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311468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10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63"/>
            <a:ext cx="1557878" cy="24646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 userDrawn="1"/>
        </p:nvSpPr>
        <p:spPr>
          <a:xfrm>
            <a:off x="486448" y="1138036"/>
            <a:ext cx="4171481" cy="523208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u="sng" cap="small" dirty="0" smtClean="0">
                <a:solidFill>
                  <a:srgbClr val="000000"/>
                </a:solidFill>
                <a:ea typeface="ＭＳ Ｐゴシック" pitchFamily="-109" charset="-128"/>
              </a:rPr>
              <a:t>Agenda</a:t>
            </a:r>
            <a:endParaRPr lang="en-US" sz="2800" b="1" u="sng" cap="small" dirty="0">
              <a:solidFill>
                <a:srgbClr val="000000"/>
              </a:solidFill>
              <a:ea typeface="ＭＳ Ｐゴシック" pitchFamily="-109" charset="-128"/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501454" y="1647452"/>
            <a:ext cx="5147822" cy="4714539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 marL="182857" indent="-182857">
              <a:buFont typeface="Arial"/>
              <a:buChar char="•"/>
              <a:defRPr cap="none"/>
            </a:lvl1pPr>
            <a:lvl2pPr marL="548569" indent="-182857">
              <a:spcBef>
                <a:spcPts val="300"/>
              </a:spcBef>
              <a:buFont typeface="Lucida Grande"/>
              <a:buChar char="-"/>
              <a:defRPr sz="2400">
                <a:solidFill>
                  <a:srgbClr val="4C4C4C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6014026" y="1268106"/>
            <a:ext cx="5896085" cy="5168597"/>
          </a:xfrm>
          <a:prstGeom prst="rect">
            <a:avLst/>
          </a:prstGeom>
          <a:noFill/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00" b="1">
              <a:ln>
                <a:solidFill>
                  <a:srgbClr val="234B8D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6072376" y="1202636"/>
            <a:ext cx="5764016" cy="523208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u="sng" cap="small" dirty="0" smtClean="0">
                <a:solidFill>
                  <a:srgbClr val="000000"/>
                </a:solidFill>
                <a:ea typeface="ＭＳ Ｐゴシック" pitchFamily="-109" charset="-128"/>
              </a:rPr>
              <a:t>Objectives</a:t>
            </a:r>
            <a:endParaRPr lang="en-US" sz="2800" b="1" u="sng" cap="small" dirty="0">
              <a:solidFill>
                <a:srgbClr val="000000"/>
              </a:solidFill>
              <a:ea typeface="ＭＳ Ｐゴシック" pitchFamily="-109" charset="-128"/>
            </a:endParaRP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 hasCustomPrompt="1"/>
          </p:nvPr>
        </p:nvSpPr>
        <p:spPr>
          <a:xfrm>
            <a:off x="6190534" y="1635968"/>
            <a:ext cx="5645291" cy="4753911"/>
          </a:xfrm>
        </p:spPr>
        <p:txBody>
          <a:bodyPr>
            <a:noAutofit/>
          </a:bodyPr>
          <a:lstStyle>
            <a:lvl1pPr marL="274285" indent="-274285">
              <a:spcBef>
                <a:spcPts val="300"/>
              </a:spcBef>
              <a:buFont typeface="Wingdings" charset="2"/>
              <a:buChar char="q"/>
              <a:defRPr sz="2000" cap="none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Type the objective here</a:t>
            </a:r>
          </a:p>
        </p:txBody>
      </p:sp>
      <p:sp>
        <p:nvSpPr>
          <p:cNvPr id="35" name="TextBox 34"/>
          <p:cNvSpPr txBox="1"/>
          <p:nvPr userDrawn="1"/>
        </p:nvSpPr>
        <p:spPr>
          <a:xfrm>
            <a:off x="486427" y="0"/>
            <a:ext cx="11705573" cy="1062163"/>
          </a:xfrm>
          <a:prstGeom prst="rect">
            <a:avLst/>
          </a:prstGeom>
          <a:noFill/>
        </p:spPr>
        <p:txBody>
          <a:bodyPr wrap="square" lIns="91428" tIns="45714" rIns="91428" bIns="45714" rtlCol="0" anchor="ctr" anchorCtr="0">
            <a:noAutofit/>
          </a:bodyPr>
          <a:lstStyle/>
          <a:p>
            <a:pPr marL="365712" indent="-365712" fontAlgn="base">
              <a:spcBef>
                <a:spcPts val="24"/>
              </a:spcBef>
            </a:pPr>
            <a:r>
              <a:rPr lang="en-US" sz="3900" b="1" dirty="0" smtClean="0">
                <a:solidFill>
                  <a:srgbClr val="FFFFFF"/>
                </a:solidFill>
                <a:ea typeface="ＭＳ Ｐゴシック" pitchFamily="-109" charset="-128"/>
              </a:rPr>
              <a:t>Agenda and Objectives</a:t>
            </a:r>
            <a:endParaRPr lang="en-US" sz="3900" b="1" dirty="0">
              <a:solidFill>
                <a:srgbClr val="FFFFFF"/>
              </a:solidFill>
              <a:ea typeface="ＭＳ Ｐゴシック" pitchFamily="-10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28276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1" y="0"/>
            <a:ext cx="12192000" cy="6858000"/>
            <a:chOff x="0" y="0"/>
            <a:chExt cx="12188825" cy="6858000"/>
          </a:xfrm>
        </p:grpSpPr>
        <p:pic>
          <p:nvPicPr>
            <p:cNvPr id="2050" name="Picture 2" descr="C:\Users\schen\Desktop\RGSE_PPTSlides.jp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1" name="Picture 3" descr="C:\Users\schen\Desktop\RGSE_PPTSlides.jpg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315" r="20817"/>
            <a:stretch/>
          </p:blipFill>
          <p:spPr bwMode="auto">
            <a:xfrm>
              <a:off x="8909050" y="0"/>
              <a:ext cx="3279775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Rectangle 6"/>
          <p:cNvSpPr/>
          <p:nvPr userDrawn="1"/>
        </p:nvSpPr>
        <p:spPr>
          <a:xfrm>
            <a:off x="619010" y="421286"/>
            <a:ext cx="10926833" cy="595579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676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1040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0" y="268845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75348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-2" y="1602925"/>
            <a:ext cx="5792593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792592" y="1602925"/>
            <a:ext cx="6400800" cy="4572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191930" y="1822891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353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sz="3200"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4696" y="1528451"/>
            <a:ext cx="11516730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>
                <a:latin typeface="Calibri" panose="020F0502020204030204" pitchFamily="34" charset="0"/>
              </a:defRPr>
            </a:lvl1pPr>
            <a:lvl2pPr>
              <a:defRPr sz="2400">
                <a:latin typeface="Calibri" panose="020F0502020204030204" pitchFamily="34" charset="0"/>
              </a:defRPr>
            </a:lvl2pPr>
            <a:lvl3pPr>
              <a:defRPr sz="2400">
                <a:latin typeface="Calibri" panose="020F0502020204030204" pitchFamily="34" charset="0"/>
              </a:defRPr>
            </a:lvl3pPr>
            <a:lvl4pPr>
              <a:defRPr sz="2400">
                <a:latin typeface="Calibri" panose="020F0502020204030204" pitchFamily="34" charset="0"/>
              </a:defRPr>
            </a:lvl4pPr>
            <a:lvl5pPr>
              <a:defRPr sz="24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668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6406952" y="1602925"/>
            <a:ext cx="5779277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6606623" y="1851472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52" y="1602925"/>
            <a:ext cx="6400800" cy="4572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446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2239617" y="1147979"/>
            <a:ext cx="7712766" cy="4119354"/>
          </a:xfrm>
          <a:prstGeom prst="rect">
            <a:avLst/>
          </a:prstGeom>
          <a:solidFill>
            <a:schemeClr val="accent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014869" y="2574091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360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65601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90330" y="1573834"/>
            <a:ext cx="5181600" cy="435133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6494569" y="1573834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74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428970" y="1495633"/>
            <a:ext cx="5157787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28970" y="2319545"/>
            <a:ext cx="5157787" cy="3684588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96270" y="1495633"/>
            <a:ext cx="5183188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6596270" y="2319545"/>
            <a:ext cx="5183188" cy="3684588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83085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with Picture &amp;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-2" y="1602925"/>
            <a:ext cx="5792593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792592" y="1602925"/>
            <a:ext cx="6400800" cy="4572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191930" y="1822891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93268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042037" y="6401483"/>
            <a:ext cx="2845529" cy="475538"/>
          </a:xfrm>
          <a:prstGeom prst="rect">
            <a:avLst/>
          </a:prstGeom>
        </p:spPr>
        <p:txBody>
          <a:bodyPr lIns="91428" tIns="45714" rIns="91428" bIns="45714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62E944-E5BB-453D-B67A-6386AA4F48EB}" type="slidenum">
              <a:rPr lang="en-US" sz="2000" b="1" smtClean="0">
                <a:solidFill>
                  <a:srgbClr val="FFFFFF"/>
                </a:solidFill>
                <a:latin typeface="Verdana" pitchFamily="34" charset="0"/>
                <a:ea typeface="ＭＳ Ｐゴシック" pitchFamily="-109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000" b="1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3024138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11468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7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63"/>
            <a:ext cx="1557878" cy="246461"/>
          </a:xfrm>
          <a:prstGeom prst="rect">
            <a:avLst/>
          </a:prstGeom>
          <a:noFill/>
        </p:spPr>
      </p:pic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89" y="0"/>
            <a:ext cx="11714429" cy="1053501"/>
          </a:xfrm>
        </p:spPr>
        <p:txBody>
          <a:bodyPr anchor="ctr">
            <a:noAutofit/>
          </a:bodyPr>
          <a:lstStyle>
            <a:lvl1pPr>
              <a:lnSpc>
                <a:spcPct val="75000"/>
              </a:lnSpc>
              <a:spcBef>
                <a:spcPts val="0"/>
              </a:spcBef>
              <a:defRPr sz="3900" b="1" cap="none" baseline="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677" y="1332975"/>
            <a:ext cx="11555238" cy="4930970"/>
          </a:xfrm>
        </p:spPr>
        <p:txBody>
          <a:bodyPr>
            <a:noAutofit/>
          </a:bodyPr>
          <a:lstStyle>
            <a:lvl1pPr marL="457140" indent="-457140">
              <a:buFont typeface="Arial"/>
              <a:buChar char="•"/>
              <a:defRPr sz="3600" cap="none"/>
            </a:lvl1pPr>
            <a:lvl2pPr marL="796934" indent="-306514">
              <a:buFont typeface="Lucida Grande"/>
              <a:buChar char="-"/>
              <a:defRPr sz="3200"/>
            </a:lvl2pPr>
            <a:lvl3pPr>
              <a:defRPr sz="3200"/>
            </a:lvl3pPr>
            <a:lvl4pPr marL="1716472" indent="-245210">
              <a:buFont typeface="Lucida Grande"/>
              <a:buChar char="-"/>
              <a:defRPr sz="28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Bullet Level 1</a:t>
            </a:r>
          </a:p>
          <a:p>
            <a:pPr lvl="1"/>
            <a:r>
              <a:rPr lang="en-US" dirty="0" smtClean="0"/>
              <a:t>Bullet Level 2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215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ing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4696" y="1528451"/>
            <a:ext cx="11516730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964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with Picture &amp; Headin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1199638"/>
            <a:ext cx="12192000" cy="5658362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83702" y="202366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3600" kern="1200" dirty="0">
                <a:solidFill>
                  <a:srgbClr val="7499C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58166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mpu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>
          <a:xfrm>
            <a:off x="199818" y="1489144"/>
            <a:ext cx="11615500" cy="15112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186109"/>
            <a:ext cx="12192000" cy="3200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064429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Gray">
    <p:bg>
      <p:bgPr>
        <a:solidFill>
          <a:srgbClr val="DDDE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1417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ay">
    <p:bg>
      <p:bgPr>
        <a:solidFill>
          <a:srgbClr val="8184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0378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">
    <p:bg>
      <p:bgPr>
        <a:solidFill>
          <a:srgbClr val="778A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tx2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7697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">
    <p:bg>
      <p:bgPr>
        <a:solidFill>
          <a:srgbClr val="23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7570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1" y="0"/>
            <a:ext cx="12192000" cy="6858000"/>
            <a:chOff x="0" y="0"/>
            <a:chExt cx="12188825" cy="6858000"/>
          </a:xfrm>
        </p:grpSpPr>
        <p:pic>
          <p:nvPicPr>
            <p:cNvPr id="2050" name="Picture 2" descr="C:\Users\schen\Desktop\RGSE_PPTSlides.jp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1" name="Picture 3" descr="C:\Users\schen\Desktop\RGSE_PPTSlides.jpg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315" r="20817"/>
            <a:stretch/>
          </p:blipFill>
          <p:spPr bwMode="auto">
            <a:xfrm>
              <a:off x="8909050" y="0"/>
              <a:ext cx="3279775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Rectangle 6"/>
          <p:cNvSpPr/>
          <p:nvPr userDrawn="1"/>
        </p:nvSpPr>
        <p:spPr>
          <a:xfrm>
            <a:off x="619010" y="421286"/>
            <a:ext cx="10926833" cy="595579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53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317819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0" y="268845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0549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01: Bullet List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89" y="0"/>
            <a:ext cx="11714429" cy="1053501"/>
          </a:xfrm>
        </p:spPr>
        <p:txBody>
          <a:bodyPr anchor="ctr">
            <a:noAutofit/>
          </a:bodyPr>
          <a:lstStyle>
            <a:lvl1pPr>
              <a:defRPr sz="39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677" y="1332975"/>
            <a:ext cx="11555238" cy="4930970"/>
          </a:xfrm>
        </p:spPr>
        <p:txBody>
          <a:bodyPr>
            <a:noAutofit/>
          </a:bodyPr>
          <a:lstStyle>
            <a:lvl1pPr marL="457140" indent="-457140">
              <a:buFont typeface="Arial"/>
              <a:buChar char="•"/>
              <a:defRPr sz="3600" cap="none"/>
            </a:lvl1pPr>
            <a:lvl2pPr marL="796934" indent="-306514">
              <a:buFont typeface="Lucida Grande"/>
              <a:buChar char="-"/>
              <a:defRPr sz="3200"/>
            </a:lvl2pPr>
            <a:lvl3pPr>
              <a:defRPr sz="3200"/>
            </a:lvl3pPr>
            <a:lvl4pPr marL="1716472" indent="-245210">
              <a:buFont typeface="Lucida Grande"/>
              <a:buChar char="-"/>
              <a:defRPr sz="28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Bullet Level 1</a:t>
            </a:r>
          </a:p>
          <a:p>
            <a:pPr lvl="1"/>
            <a:r>
              <a:rPr lang="en-US" dirty="0" smtClean="0"/>
              <a:t>Bullet Level 2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0918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-2" y="1602925"/>
            <a:ext cx="5792593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792592" y="1602925"/>
            <a:ext cx="6400800" cy="4572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191930" y="1822891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556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4696" y="1528451"/>
            <a:ext cx="11516730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276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6406952" y="1602925"/>
            <a:ext cx="5779277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6606623" y="1851472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52" y="1602925"/>
            <a:ext cx="6400800" cy="4572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86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Headin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1199638"/>
            <a:ext cx="12192000" cy="521208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83702" y="202366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4000" kern="1200" dirty="0">
                <a:solidFill>
                  <a:srgbClr val="7499C6"/>
                </a:solidFill>
                <a:latin typeface="Knockout 30 Junior Welterwt" pitchFamily="50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18872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4008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2239617" y="1147979"/>
            <a:ext cx="7712766" cy="4119354"/>
          </a:xfrm>
          <a:prstGeom prst="rect">
            <a:avLst/>
          </a:prstGeom>
          <a:solidFill>
            <a:schemeClr val="accent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014869" y="2574091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4000" kern="1200" dirty="0">
                <a:solidFill>
                  <a:schemeClr val="bg1"/>
                </a:solidFill>
                <a:latin typeface="Knockout 30 Junior Welterwt" pitchFamily="50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29188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pu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>
          <a:xfrm>
            <a:off x="199818" y="1489144"/>
            <a:ext cx="11615500" cy="15112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186109"/>
            <a:ext cx="12192000" cy="3200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11453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90330" y="1573834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6494569" y="1573834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54964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428970" y="1495633"/>
            <a:ext cx="5157787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28970" y="2319545"/>
            <a:ext cx="5157787" cy="36845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96270" y="1495633"/>
            <a:ext cx="5183188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6596270" y="2319545"/>
            <a:ext cx="5183188" cy="36845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22146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59019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0" y="268845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59740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042037" y="6401483"/>
            <a:ext cx="2845529" cy="475538"/>
          </a:xfrm>
          <a:prstGeom prst="rect">
            <a:avLst/>
          </a:prstGeom>
        </p:spPr>
        <p:txBody>
          <a:bodyPr lIns="91428" tIns="45714" rIns="91428" bIns="45714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62E944-E5BB-453D-B67A-6386AA4F48EB}" type="slidenum">
              <a:rPr lang="en-US" sz="2000" b="1" smtClean="0">
                <a:solidFill>
                  <a:srgbClr val="FFFFFF"/>
                </a:solidFill>
                <a:latin typeface="Verdana" pitchFamily="34" charset="0"/>
                <a:ea typeface="ＭＳ Ｐゴシック" pitchFamily="-109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000" b="1" dirty="0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3024138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11468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7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63"/>
            <a:ext cx="1557878" cy="246461"/>
          </a:xfrm>
          <a:prstGeom prst="rect">
            <a:avLst/>
          </a:prstGeom>
          <a:noFill/>
        </p:spPr>
      </p:pic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89" y="0"/>
            <a:ext cx="11714429" cy="1053501"/>
          </a:xfrm>
        </p:spPr>
        <p:txBody>
          <a:bodyPr anchor="ctr">
            <a:noAutofit/>
          </a:bodyPr>
          <a:lstStyle>
            <a:lvl1pPr>
              <a:defRPr sz="39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6" hasCustomPrompt="1"/>
          </p:nvPr>
        </p:nvSpPr>
        <p:spPr>
          <a:xfrm>
            <a:off x="461672" y="1766243"/>
            <a:ext cx="5519929" cy="4552546"/>
          </a:xfrm>
        </p:spPr>
        <p:txBody>
          <a:bodyPr/>
          <a:lstStyle>
            <a:lvl1pPr marL="457140" indent="-457140">
              <a:buFont typeface="Arial"/>
              <a:buChar char="•"/>
              <a:defRPr cap="none"/>
            </a:lvl1pPr>
            <a:lvl2pPr marL="490421" indent="0">
              <a:buNone/>
              <a:defRPr/>
            </a:lvl2pPr>
          </a:lstStyle>
          <a:p>
            <a:pPr lvl="0"/>
            <a:r>
              <a:rPr lang="en-US" dirty="0" smtClean="0"/>
              <a:t>Bullet 1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9" hasCustomPrompt="1"/>
          </p:nvPr>
        </p:nvSpPr>
        <p:spPr>
          <a:xfrm>
            <a:off x="457678" y="1213533"/>
            <a:ext cx="5511970" cy="513366"/>
          </a:xfrm>
        </p:spPr>
        <p:txBody>
          <a:bodyPr>
            <a:noAutofit/>
          </a:bodyPr>
          <a:lstStyle>
            <a:lvl1pPr>
              <a:defRPr sz="3200" cap="none" baseline="0"/>
            </a:lvl1pPr>
          </a:lstStyle>
          <a:p>
            <a:pPr lvl="0"/>
            <a:r>
              <a:rPr lang="en-US" dirty="0" smtClean="0"/>
              <a:t>Column Header</a:t>
            </a:r>
          </a:p>
        </p:txBody>
      </p:sp>
      <p:sp>
        <p:nvSpPr>
          <p:cNvPr id="21" name="Content Placeholder 11"/>
          <p:cNvSpPr>
            <a:spLocks noGrp="1"/>
          </p:cNvSpPr>
          <p:nvPr>
            <p:ph sz="quarter" idx="20" hasCustomPrompt="1"/>
          </p:nvPr>
        </p:nvSpPr>
        <p:spPr>
          <a:xfrm>
            <a:off x="6357161" y="1765811"/>
            <a:ext cx="5519929" cy="4552546"/>
          </a:xfrm>
        </p:spPr>
        <p:txBody>
          <a:bodyPr/>
          <a:lstStyle>
            <a:lvl1pPr marL="457140" indent="-457140">
              <a:buFont typeface="Arial"/>
              <a:buChar char="•"/>
              <a:defRPr cap="none"/>
            </a:lvl1pPr>
            <a:lvl2pPr marL="490421" indent="0">
              <a:buNone/>
              <a:defRPr/>
            </a:lvl2pPr>
          </a:lstStyle>
          <a:p>
            <a:pPr lvl="0"/>
            <a:r>
              <a:rPr lang="en-US" dirty="0" smtClean="0"/>
              <a:t>Bullet 1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21" hasCustomPrompt="1"/>
          </p:nvPr>
        </p:nvSpPr>
        <p:spPr>
          <a:xfrm>
            <a:off x="6353170" y="1213100"/>
            <a:ext cx="5511970" cy="513366"/>
          </a:xfrm>
        </p:spPr>
        <p:txBody>
          <a:bodyPr>
            <a:noAutofit/>
          </a:bodyPr>
          <a:lstStyle>
            <a:lvl1pPr>
              <a:defRPr sz="3200" cap="none" baseline="0"/>
            </a:lvl1pPr>
          </a:lstStyle>
          <a:p>
            <a:pPr lvl="0"/>
            <a:r>
              <a:rPr lang="en-US" dirty="0" smtClean="0"/>
              <a:t>Column Header</a:t>
            </a:r>
          </a:p>
        </p:txBody>
      </p:sp>
    </p:spTree>
    <p:extLst>
      <p:ext uri="{BB962C8B-B14F-4D97-AF65-F5344CB8AC3E}">
        <p14:creationId xmlns:p14="http://schemas.microsoft.com/office/powerpoint/2010/main" val="1328679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-2" y="1602925"/>
            <a:ext cx="5792593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792592" y="1602925"/>
            <a:ext cx="6400800" cy="4572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191930" y="1822891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897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4696" y="1528451"/>
            <a:ext cx="11516730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6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6406952" y="1602925"/>
            <a:ext cx="5779277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6606623" y="1851472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52" y="1602925"/>
            <a:ext cx="6400800" cy="4572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429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Headin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1199638"/>
            <a:ext cx="12192000" cy="521208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83702" y="202366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4000" kern="1200" dirty="0">
                <a:solidFill>
                  <a:srgbClr val="7499C6"/>
                </a:solidFill>
                <a:latin typeface="Knockout 30 Junior Welterwt" pitchFamily="50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43585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4008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2239617" y="1147979"/>
            <a:ext cx="7712766" cy="4119354"/>
          </a:xfrm>
          <a:prstGeom prst="rect">
            <a:avLst/>
          </a:prstGeom>
          <a:solidFill>
            <a:schemeClr val="accent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014869" y="2574091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4000" kern="1200" dirty="0">
                <a:solidFill>
                  <a:schemeClr val="bg1"/>
                </a:solidFill>
                <a:latin typeface="Knockout 30 Junior Welterwt" pitchFamily="50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62341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pu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>
          <a:xfrm>
            <a:off x="199818" y="1489144"/>
            <a:ext cx="11615500" cy="15112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186109"/>
            <a:ext cx="12192000" cy="3200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64159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90330" y="1573834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6494569" y="1573834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069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428970" y="1495633"/>
            <a:ext cx="5157787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28970" y="2319545"/>
            <a:ext cx="5157787" cy="36845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96270" y="1495633"/>
            <a:ext cx="5183188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6596270" y="2319545"/>
            <a:ext cx="5183188" cy="36845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06209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80248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0" y="268845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3561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Title + White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042037" y="6401483"/>
            <a:ext cx="2845529" cy="475538"/>
          </a:xfrm>
          <a:prstGeom prst="rect">
            <a:avLst/>
          </a:prstGeom>
        </p:spPr>
        <p:txBody>
          <a:bodyPr lIns="91428" tIns="45714" rIns="91428" bIns="45714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62E944-E5BB-453D-B67A-6386AA4F48EB}" type="slidenum">
              <a:rPr lang="en-US" sz="2000" b="1" smtClean="0">
                <a:solidFill>
                  <a:srgbClr val="FFFFFF"/>
                </a:solidFill>
                <a:latin typeface="Verdana" pitchFamily="34" charset="0"/>
                <a:ea typeface="ＭＳ Ｐゴシック" pitchFamily="-109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000" b="1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3024138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11468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7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63"/>
            <a:ext cx="1557878" cy="246461"/>
          </a:xfrm>
          <a:prstGeom prst="rect">
            <a:avLst/>
          </a:prstGeom>
          <a:noFill/>
        </p:spPr>
      </p:pic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89" y="0"/>
            <a:ext cx="11714429" cy="1053501"/>
          </a:xfrm>
        </p:spPr>
        <p:txBody>
          <a:bodyPr anchor="ctr">
            <a:noAutofit/>
          </a:bodyPr>
          <a:lstStyle>
            <a:lvl1pPr>
              <a:defRPr sz="39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7233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-2" y="1602925"/>
            <a:ext cx="5792593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792592" y="1602925"/>
            <a:ext cx="6400800" cy="4572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191930" y="1822891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215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4696" y="1528451"/>
            <a:ext cx="11516730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885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6406952" y="1602925"/>
            <a:ext cx="5779277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6606623" y="1851472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52" y="1602925"/>
            <a:ext cx="6400800" cy="4572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602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Headin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1199638"/>
            <a:ext cx="12192000" cy="521208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83702" y="202366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4000" kern="1200" dirty="0">
                <a:solidFill>
                  <a:srgbClr val="7499C6"/>
                </a:solidFill>
                <a:latin typeface="Knockout 30 Junior Welterwt" pitchFamily="50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718164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4008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2239617" y="1147979"/>
            <a:ext cx="7712766" cy="4119354"/>
          </a:xfrm>
          <a:prstGeom prst="rect">
            <a:avLst/>
          </a:prstGeom>
          <a:solidFill>
            <a:schemeClr val="accent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014869" y="2574091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4000" kern="1200" dirty="0">
                <a:solidFill>
                  <a:schemeClr val="bg1"/>
                </a:solidFill>
                <a:latin typeface="Knockout 30 Junior Welterwt" pitchFamily="50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8653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pu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>
          <a:xfrm>
            <a:off x="199818" y="1489144"/>
            <a:ext cx="11615500" cy="15112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186109"/>
            <a:ext cx="12192000" cy="3200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15923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90330" y="1573834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6494569" y="1573834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655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428970" y="1495633"/>
            <a:ext cx="5157787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28970" y="2319545"/>
            <a:ext cx="5157787" cy="36845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96270" y="1495633"/>
            <a:ext cx="5183188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6596270" y="2319545"/>
            <a:ext cx="5183188" cy="36845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832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3" y="268845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2603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0"/>
            <a:ext cx="12192000" cy="99058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42033" y="6401483"/>
            <a:ext cx="2845529" cy="4755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E957544-9087-3B48-86C1-7069BA52F761}" type="slidenum">
              <a:rPr lang="en-US" sz="2000" b="1">
                <a:solidFill>
                  <a:srgbClr val="FFFFFF"/>
                </a:solidFill>
                <a:latin typeface="Verdana" pitchFamily="34" charset="0"/>
                <a:ea typeface="ＭＳ Ｐゴシック" pitchFamily="-109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000" b="1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091219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01: Blue">
    <p:bg>
      <p:bgPr>
        <a:solidFill>
          <a:srgbClr val="23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1" y="1112180"/>
            <a:ext cx="10972800" cy="4648200"/>
          </a:xfrm>
          <a:prstGeom prst="rect">
            <a:avLst/>
          </a:prstGeom>
          <a:solidFill>
            <a:srgbClr val="234B8D"/>
          </a:solidFill>
        </p:spPr>
        <p:txBody>
          <a:bodyPr anchor="ctr"/>
          <a:lstStyle>
            <a:lvl1pPr algn="ctr"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83527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 userDrawn="1"/>
        </p:nvSpPr>
        <p:spPr>
          <a:xfrm>
            <a:off x="931334" y="6515100"/>
            <a:ext cx="198098" cy="406792"/>
          </a:xfrm>
          <a:prstGeom prst="rect">
            <a:avLst/>
          </a:prstGeom>
          <a:noFill/>
        </p:spPr>
        <p:txBody>
          <a:bodyPr wrap="none" lIns="98059" tIns="49029" rIns="98059" bIns="49029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pic>
        <p:nvPicPr>
          <p:cNvPr id="3" name="Picture 2" descr="relay_powerpoint_cover03a.ti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2000" cy="4174236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00639" y="4324834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3200" b="1" baseline="0"/>
            </a:lvl1pPr>
          </a:lstStyle>
          <a:p>
            <a:pPr lvl="0"/>
            <a:r>
              <a:rPr lang="en-US" dirty="0" smtClean="0"/>
              <a:t>Tit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16401" y="4768777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3200" b="0" cap="none" baseline="0"/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5811" y="5548708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2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resenter Nam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516401" y="5884265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20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Month Day, Year</a:t>
            </a:r>
          </a:p>
        </p:txBody>
      </p:sp>
    </p:spTree>
    <p:extLst>
      <p:ext uri="{BB962C8B-B14F-4D97-AF65-F5344CB8AC3E}">
        <p14:creationId xmlns:p14="http://schemas.microsoft.com/office/powerpoint/2010/main" val="2424753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01: Agenda and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3024137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311468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10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62"/>
            <a:ext cx="1557878" cy="24646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 userDrawn="1"/>
        </p:nvSpPr>
        <p:spPr>
          <a:xfrm>
            <a:off x="486446" y="1138036"/>
            <a:ext cx="4171481" cy="523208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u="sng" cap="small" dirty="0" smtClean="0">
                <a:solidFill>
                  <a:srgbClr val="000000"/>
                </a:solidFill>
                <a:ea typeface="ＭＳ Ｐゴシック" pitchFamily="-109" charset="-128"/>
              </a:rPr>
              <a:t>Agenda</a:t>
            </a:r>
            <a:endParaRPr lang="en-US" sz="2800" b="1" u="sng" cap="small" dirty="0">
              <a:solidFill>
                <a:srgbClr val="000000"/>
              </a:solidFill>
              <a:ea typeface="ＭＳ Ｐゴシック" pitchFamily="-109" charset="-128"/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501454" y="1647451"/>
            <a:ext cx="5147822" cy="4714539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 marL="182857" indent="-182857">
              <a:buFont typeface="Arial"/>
              <a:buChar char="•"/>
              <a:defRPr cap="none"/>
            </a:lvl1pPr>
            <a:lvl2pPr marL="548569" indent="-182857">
              <a:spcBef>
                <a:spcPts val="300"/>
              </a:spcBef>
              <a:buFont typeface="Lucida Grande"/>
              <a:buChar char="-"/>
              <a:defRPr sz="2400">
                <a:solidFill>
                  <a:srgbClr val="4C4C4C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6014024" y="1268105"/>
            <a:ext cx="5896085" cy="5168597"/>
          </a:xfrm>
          <a:prstGeom prst="rect">
            <a:avLst/>
          </a:prstGeom>
          <a:noFill/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00" b="1">
              <a:ln>
                <a:solidFill>
                  <a:srgbClr val="234B8D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6072376" y="1202636"/>
            <a:ext cx="5764016" cy="523208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u="sng" cap="small" dirty="0" smtClean="0">
                <a:solidFill>
                  <a:srgbClr val="000000"/>
                </a:solidFill>
                <a:ea typeface="ＭＳ Ｐゴシック" pitchFamily="-109" charset="-128"/>
              </a:rPr>
              <a:t>Objectives</a:t>
            </a:r>
            <a:endParaRPr lang="en-US" sz="2800" b="1" u="sng" cap="small" dirty="0">
              <a:solidFill>
                <a:srgbClr val="000000"/>
              </a:solidFill>
              <a:ea typeface="ＭＳ Ｐゴシック" pitchFamily="-109" charset="-128"/>
            </a:endParaRP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 hasCustomPrompt="1"/>
          </p:nvPr>
        </p:nvSpPr>
        <p:spPr>
          <a:xfrm>
            <a:off x="6190533" y="1635968"/>
            <a:ext cx="5645291" cy="4753911"/>
          </a:xfrm>
        </p:spPr>
        <p:txBody>
          <a:bodyPr>
            <a:noAutofit/>
          </a:bodyPr>
          <a:lstStyle>
            <a:lvl1pPr marL="274285" indent="-274285">
              <a:spcBef>
                <a:spcPts val="300"/>
              </a:spcBef>
              <a:buFont typeface="Wingdings" charset="2"/>
              <a:buChar char="q"/>
              <a:defRPr sz="2000" cap="none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Type the objective here</a:t>
            </a:r>
          </a:p>
        </p:txBody>
      </p:sp>
      <p:sp>
        <p:nvSpPr>
          <p:cNvPr id="35" name="TextBox 34"/>
          <p:cNvSpPr txBox="1"/>
          <p:nvPr userDrawn="1"/>
        </p:nvSpPr>
        <p:spPr>
          <a:xfrm>
            <a:off x="486427" y="0"/>
            <a:ext cx="11705573" cy="1062163"/>
          </a:xfrm>
          <a:prstGeom prst="rect">
            <a:avLst/>
          </a:prstGeom>
          <a:noFill/>
        </p:spPr>
        <p:txBody>
          <a:bodyPr wrap="square" lIns="91428" tIns="45714" rIns="91428" bIns="45714" rtlCol="0" anchor="ctr" anchorCtr="0">
            <a:noAutofit/>
          </a:bodyPr>
          <a:lstStyle/>
          <a:p>
            <a:pPr marL="365712" indent="-365712" fontAlgn="base">
              <a:spcBef>
                <a:spcPts val="24"/>
              </a:spcBef>
            </a:pPr>
            <a:r>
              <a:rPr lang="en-US" sz="3900" b="1" dirty="0" smtClean="0">
                <a:solidFill>
                  <a:srgbClr val="FFFFFF"/>
                </a:solidFill>
                <a:ea typeface="ＭＳ Ｐゴシック" pitchFamily="-109" charset="-128"/>
              </a:rPr>
              <a:t>Agenda and Objectives</a:t>
            </a:r>
            <a:endParaRPr lang="en-US" sz="3900" b="1" dirty="0">
              <a:solidFill>
                <a:srgbClr val="FFFFFF"/>
              </a:solidFill>
              <a:ea typeface="ＭＳ Ｐゴシック" pitchFamily="-10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63860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042035" y="6401483"/>
            <a:ext cx="2845529" cy="475538"/>
          </a:xfrm>
          <a:prstGeom prst="rect">
            <a:avLst/>
          </a:prstGeom>
        </p:spPr>
        <p:txBody>
          <a:bodyPr lIns="91428" tIns="45714" rIns="91428" bIns="45714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62E944-E5BB-453D-B67A-6386AA4F48EB}" type="slidenum">
              <a:rPr lang="en-US" sz="2000" b="1" smtClean="0">
                <a:solidFill>
                  <a:srgbClr val="FFFFFF"/>
                </a:solidFill>
                <a:latin typeface="Verdana" pitchFamily="34" charset="0"/>
                <a:ea typeface="ＭＳ Ｐゴシック" pitchFamily="-109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000" b="1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3024137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11468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7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62"/>
            <a:ext cx="1557878" cy="246461"/>
          </a:xfrm>
          <a:prstGeom prst="rect">
            <a:avLst/>
          </a:prstGeom>
          <a:noFill/>
        </p:spPr>
      </p:pic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88" y="0"/>
            <a:ext cx="11714429" cy="1053501"/>
          </a:xfrm>
        </p:spPr>
        <p:txBody>
          <a:bodyPr anchor="ctr">
            <a:noAutofit/>
          </a:bodyPr>
          <a:lstStyle>
            <a:lvl1pPr>
              <a:lnSpc>
                <a:spcPct val="75000"/>
              </a:lnSpc>
              <a:spcBef>
                <a:spcPts val="0"/>
              </a:spcBef>
              <a:defRPr sz="3900" b="1" cap="none" baseline="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677" y="1332975"/>
            <a:ext cx="11555238" cy="4930970"/>
          </a:xfrm>
        </p:spPr>
        <p:txBody>
          <a:bodyPr>
            <a:noAutofit/>
          </a:bodyPr>
          <a:lstStyle>
            <a:lvl1pPr marL="457140" indent="-457140">
              <a:buFont typeface="Arial"/>
              <a:buChar char="•"/>
              <a:defRPr sz="3600" cap="none"/>
            </a:lvl1pPr>
            <a:lvl2pPr marL="796934" indent="-306514">
              <a:buFont typeface="Lucida Grande"/>
              <a:buChar char="-"/>
              <a:defRPr sz="3200"/>
            </a:lvl2pPr>
            <a:lvl3pPr>
              <a:defRPr sz="3200"/>
            </a:lvl3pPr>
            <a:lvl4pPr marL="1716472" indent="-245210">
              <a:buFont typeface="Lucida Grande"/>
              <a:buChar char="-"/>
              <a:defRPr sz="28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Bullet Level 1</a:t>
            </a:r>
          </a:p>
          <a:p>
            <a:pPr lvl="1"/>
            <a:r>
              <a:rPr lang="en-US" dirty="0" smtClean="0"/>
              <a:t>Bullet Level 2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92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01: Bullet List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88" y="0"/>
            <a:ext cx="11714429" cy="1053501"/>
          </a:xfrm>
        </p:spPr>
        <p:txBody>
          <a:bodyPr anchor="ctr">
            <a:noAutofit/>
          </a:bodyPr>
          <a:lstStyle>
            <a:lvl1pPr>
              <a:defRPr sz="39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677" y="1332975"/>
            <a:ext cx="11555238" cy="4930970"/>
          </a:xfrm>
        </p:spPr>
        <p:txBody>
          <a:bodyPr>
            <a:noAutofit/>
          </a:bodyPr>
          <a:lstStyle>
            <a:lvl1pPr marL="457140" indent="-457140">
              <a:buFont typeface="Arial"/>
              <a:buChar char="•"/>
              <a:defRPr sz="3600" cap="none"/>
            </a:lvl1pPr>
            <a:lvl2pPr marL="796934" indent="-306514">
              <a:buFont typeface="Lucida Grande"/>
              <a:buChar char="-"/>
              <a:defRPr sz="3200"/>
            </a:lvl2pPr>
            <a:lvl3pPr>
              <a:defRPr sz="3200"/>
            </a:lvl3pPr>
            <a:lvl4pPr marL="1716472" indent="-245210">
              <a:buFont typeface="Lucida Grande"/>
              <a:buChar char="-"/>
              <a:defRPr sz="28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Bullet Level 1</a:t>
            </a:r>
          </a:p>
          <a:p>
            <a:pPr lvl="1"/>
            <a:r>
              <a:rPr lang="en-US" dirty="0" smtClean="0"/>
              <a:t>Bullet Level 2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41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042035" y="6401483"/>
            <a:ext cx="2845529" cy="475538"/>
          </a:xfrm>
          <a:prstGeom prst="rect">
            <a:avLst/>
          </a:prstGeom>
        </p:spPr>
        <p:txBody>
          <a:bodyPr lIns="91428" tIns="45714" rIns="91428" bIns="45714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62E944-E5BB-453D-B67A-6386AA4F48EB}" type="slidenum">
              <a:rPr lang="en-US" sz="2000" b="1" smtClean="0">
                <a:solidFill>
                  <a:srgbClr val="FFFFFF"/>
                </a:solidFill>
                <a:latin typeface="Verdana" pitchFamily="34" charset="0"/>
                <a:ea typeface="ＭＳ Ｐゴシック" pitchFamily="-109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000" b="1" dirty="0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3024137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11468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7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62"/>
            <a:ext cx="1557878" cy="246461"/>
          </a:xfrm>
          <a:prstGeom prst="rect">
            <a:avLst/>
          </a:prstGeom>
          <a:noFill/>
        </p:spPr>
      </p:pic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88" y="0"/>
            <a:ext cx="11714429" cy="1053501"/>
          </a:xfrm>
        </p:spPr>
        <p:txBody>
          <a:bodyPr anchor="ctr">
            <a:noAutofit/>
          </a:bodyPr>
          <a:lstStyle>
            <a:lvl1pPr>
              <a:defRPr sz="39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6" hasCustomPrompt="1"/>
          </p:nvPr>
        </p:nvSpPr>
        <p:spPr>
          <a:xfrm>
            <a:off x="461671" y="1766243"/>
            <a:ext cx="5519929" cy="4552546"/>
          </a:xfrm>
        </p:spPr>
        <p:txBody>
          <a:bodyPr/>
          <a:lstStyle>
            <a:lvl1pPr marL="457140" indent="-457140">
              <a:buFont typeface="Arial"/>
              <a:buChar char="•"/>
              <a:defRPr cap="none"/>
            </a:lvl1pPr>
            <a:lvl2pPr marL="490421" indent="0">
              <a:buNone/>
              <a:defRPr/>
            </a:lvl2pPr>
          </a:lstStyle>
          <a:p>
            <a:pPr lvl="0"/>
            <a:r>
              <a:rPr lang="en-US" dirty="0" smtClean="0"/>
              <a:t>Bullet 1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9" hasCustomPrompt="1"/>
          </p:nvPr>
        </p:nvSpPr>
        <p:spPr>
          <a:xfrm>
            <a:off x="457678" y="1213533"/>
            <a:ext cx="5511970" cy="513366"/>
          </a:xfrm>
        </p:spPr>
        <p:txBody>
          <a:bodyPr>
            <a:noAutofit/>
          </a:bodyPr>
          <a:lstStyle>
            <a:lvl1pPr>
              <a:defRPr sz="3200" cap="none" baseline="0"/>
            </a:lvl1pPr>
          </a:lstStyle>
          <a:p>
            <a:pPr lvl="0"/>
            <a:r>
              <a:rPr lang="en-US" dirty="0" smtClean="0"/>
              <a:t>Column Header</a:t>
            </a:r>
          </a:p>
        </p:txBody>
      </p:sp>
      <p:sp>
        <p:nvSpPr>
          <p:cNvPr id="21" name="Content Placeholder 11"/>
          <p:cNvSpPr>
            <a:spLocks noGrp="1"/>
          </p:cNvSpPr>
          <p:nvPr>
            <p:ph sz="quarter" idx="20" hasCustomPrompt="1"/>
          </p:nvPr>
        </p:nvSpPr>
        <p:spPr>
          <a:xfrm>
            <a:off x="6357160" y="1765811"/>
            <a:ext cx="5519929" cy="4552546"/>
          </a:xfrm>
        </p:spPr>
        <p:txBody>
          <a:bodyPr/>
          <a:lstStyle>
            <a:lvl1pPr marL="457140" indent="-457140">
              <a:buFont typeface="Arial"/>
              <a:buChar char="•"/>
              <a:defRPr cap="none"/>
            </a:lvl1pPr>
            <a:lvl2pPr marL="490421" indent="0">
              <a:buNone/>
              <a:defRPr/>
            </a:lvl2pPr>
          </a:lstStyle>
          <a:p>
            <a:pPr lvl="0"/>
            <a:r>
              <a:rPr lang="en-US" dirty="0" smtClean="0"/>
              <a:t>Bullet 1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21" hasCustomPrompt="1"/>
          </p:nvPr>
        </p:nvSpPr>
        <p:spPr>
          <a:xfrm>
            <a:off x="6353170" y="1213100"/>
            <a:ext cx="5511970" cy="513366"/>
          </a:xfrm>
        </p:spPr>
        <p:txBody>
          <a:bodyPr>
            <a:noAutofit/>
          </a:bodyPr>
          <a:lstStyle>
            <a:lvl1pPr>
              <a:defRPr sz="3200" cap="none" baseline="0"/>
            </a:lvl1pPr>
          </a:lstStyle>
          <a:p>
            <a:pPr lvl="0"/>
            <a:r>
              <a:rPr lang="en-US" dirty="0" smtClean="0"/>
              <a:t>Column Header</a:t>
            </a:r>
          </a:p>
        </p:txBody>
      </p:sp>
    </p:spTree>
    <p:extLst>
      <p:ext uri="{BB962C8B-B14F-4D97-AF65-F5344CB8AC3E}">
        <p14:creationId xmlns:p14="http://schemas.microsoft.com/office/powerpoint/2010/main" val="2640838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Title + White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042035" y="6401483"/>
            <a:ext cx="2845529" cy="475538"/>
          </a:xfrm>
          <a:prstGeom prst="rect">
            <a:avLst/>
          </a:prstGeom>
        </p:spPr>
        <p:txBody>
          <a:bodyPr lIns="91428" tIns="45714" rIns="91428" bIns="45714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62E944-E5BB-453D-B67A-6386AA4F48EB}" type="slidenum">
              <a:rPr lang="en-US" sz="2000" b="1" smtClean="0">
                <a:solidFill>
                  <a:srgbClr val="FFFFFF"/>
                </a:solidFill>
                <a:latin typeface="Verdana" pitchFamily="34" charset="0"/>
                <a:ea typeface="ＭＳ Ｐゴシック" pitchFamily="-109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000" b="1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3024137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11468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7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62"/>
            <a:ext cx="1557878" cy="246461"/>
          </a:xfrm>
          <a:prstGeom prst="rect">
            <a:avLst/>
          </a:prstGeom>
          <a:noFill/>
        </p:spPr>
      </p:pic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88" y="0"/>
            <a:ext cx="11714429" cy="1053501"/>
          </a:xfrm>
        </p:spPr>
        <p:txBody>
          <a:bodyPr anchor="ctr">
            <a:noAutofit/>
          </a:bodyPr>
          <a:lstStyle>
            <a:lvl1pPr>
              <a:defRPr sz="39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8539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0"/>
            <a:ext cx="12192000" cy="99058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42032" y="6401483"/>
            <a:ext cx="2845529" cy="4755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E957544-9087-3B48-86C1-7069BA52F761}" type="slidenum">
              <a:rPr lang="en-US" sz="2000" b="1">
                <a:solidFill>
                  <a:srgbClr val="FFFFFF"/>
                </a:solidFill>
                <a:latin typeface="Verdana" pitchFamily="34" charset="0"/>
                <a:ea typeface="ＭＳ Ｐゴシック" pitchFamily="-109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000" b="1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385899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01: Blue">
    <p:bg>
      <p:bgPr>
        <a:solidFill>
          <a:srgbClr val="23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1" y="1112180"/>
            <a:ext cx="10972800" cy="4648200"/>
          </a:xfrm>
          <a:prstGeom prst="rect">
            <a:avLst/>
          </a:prstGeom>
          <a:solidFill>
            <a:srgbClr val="234B8D"/>
          </a:solidFill>
        </p:spPr>
        <p:txBody>
          <a:bodyPr anchor="ctr"/>
          <a:lstStyle>
            <a:lvl1pPr algn="ctr"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26075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9" y="6509699"/>
            <a:ext cx="346570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0" y="1602928"/>
            <a:ext cx="5792592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792592" y="1602925"/>
            <a:ext cx="6400800" cy="4572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3" y="316315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191935" y="1822891"/>
            <a:ext cx="5208696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85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 userDrawn="1"/>
        </p:nvSpPr>
        <p:spPr>
          <a:xfrm>
            <a:off x="931334" y="6515100"/>
            <a:ext cx="198098" cy="406792"/>
          </a:xfrm>
          <a:prstGeom prst="rect">
            <a:avLst/>
          </a:prstGeom>
          <a:noFill/>
        </p:spPr>
        <p:txBody>
          <a:bodyPr wrap="none" lIns="98059" tIns="49029" rIns="98059" bIns="49029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pic>
        <p:nvPicPr>
          <p:cNvPr id="3" name="Picture 2" descr="relay_powerpoint_cover03a.ti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2000" cy="4174236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00639" y="4324834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3200" b="1" baseline="0"/>
            </a:lvl1pPr>
          </a:lstStyle>
          <a:p>
            <a:pPr lvl="0"/>
            <a:r>
              <a:rPr lang="en-US" dirty="0" smtClean="0"/>
              <a:t>Tit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16401" y="4768777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3200" b="0" cap="none" baseline="0"/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5811" y="5548708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2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resenter Nam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516401" y="5884265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20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Month Day, Year</a:t>
            </a:r>
          </a:p>
        </p:txBody>
      </p:sp>
    </p:spTree>
    <p:extLst>
      <p:ext uri="{BB962C8B-B14F-4D97-AF65-F5344CB8AC3E}">
        <p14:creationId xmlns:p14="http://schemas.microsoft.com/office/powerpoint/2010/main" val="2222285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01: Agenda and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3024133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311468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10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59"/>
            <a:ext cx="1557878" cy="24646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 userDrawn="1"/>
        </p:nvSpPr>
        <p:spPr>
          <a:xfrm>
            <a:off x="486443" y="1138036"/>
            <a:ext cx="4171481" cy="523208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u="sng" cap="small" dirty="0" smtClean="0">
                <a:solidFill>
                  <a:srgbClr val="000000"/>
                </a:solidFill>
                <a:ea typeface="ＭＳ Ｐゴシック" pitchFamily="-109" charset="-128"/>
              </a:rPr>
              <a:t>Agenda</a:t>
            </a:r>
            <a:endParaRPr lang="en-US" sz="2800" b="1" u="sng" cap="small" dirty="0">
              <a:solidFill>
                <a:srgbClr val="000000"/>
              </a:solidFill>
              <a:ea typeface="ＭＳ Ｐゴシック" pitchFamily="-109" charset="-128"/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501454" y="1647448"/>
            <a:ext cx="5147822" cy="4714539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 marL="182857" indent="-182857">
              <a:buFont typeface="Arial"/>
              <a:buChar char="•"/>
              <a:defRPr cap="none"/>
            </a:lvl1pPr>
            <a:lvl2pPr marL="548569" indent="-182857">
              <a:spcBef>
                <a:spcPts val="300"/>
              </a:spcBef>
              <a:buFont typeface="Lucida Grande"/>
              <a:buChar char="-"/>
              <a:defRPr sz="2400">
                <a:solidFill>
                  <a:srgbClr val="4C4C4C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6014021" y="1268102"/>
            <a:ext cx="5896085" cy="5168597"/>
          </a:xfrm>
          <a:prstGeom prst="rect">
            <a:avLst/>
          </a:prstGeom>
          <a:noFill/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00" b="1">
              <a:ln>
                <a:solidFill>
                  <a:srgbClr val="234B8D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6072376" y="1202636"/>
            <a:ext cx="5764016" cy="523208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u="sng" cap="small" dirty="0" smtClean="0">
                <a:solidFill>
                  <a:srgbClr val="000000"/>
                </a:solidFill>
                <a:ea typeface="ＭＳ Ｐゴシック" pitchFamily="-109" charset="-128"/>
              </a:rPr>
              <a:t>Objectives</a:t>
            </a:r>
            <a:endParaRPr lang="en-US" sz="2800" b="1" u="sng" cap="small" dirty="0">
              <a:solidFill>
                <a:srgbClr val="000000"/>
              </a:solidFill>
              <a:ea typeface="ＭＳ Ｐゴシック" pitchFamily="-109" charset="-128"/>
            </a:endParaRP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 hasCustomPrompt="1"/>
          </p:nvPr>
        </p:nvSpPr>
        <p:spPr>
          <a:xfrm>
            <a:off x="6190529" y="1635968"/>
            <a:ext cx="5645291" cy="4753911"/>
          </a:xfrm>
        </p:spPr>
        <p:txBody>
          <a:bodyPr>
            <a:noAutofit/>
          </a:bodyPr>
          <a:lstStyle>
            <a:lvl1pPr marL="274285" indent="-274285">
              <a:spcBef>
                <a:spcPts val="300"/>
              </a:spcBef>
              <a:buFont typeface="Wingdings" charset="2"/>
              <a:buChar char="q"/>
              <a:defRPr sz="2000" cap="none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Type the objective here</a:t>
            </a:r>
          </a:p>
        </p:txBody>
      </p:sp>
      <p:sp>
        <p:nvSpPr>
          <p:cNvPr id="35" name="TextBox 34"/>
          <p:cNvSpPr txBox="1"/>
          <p:nvPr userDrawn="1"/>
        </p:nvSpPr>
        <p:spPr>
          <a:xfrm>
            <a:off x="486427" y="0"/>
            <a:ext cx="11705573" cy="1062163"/>
          </a:xfrm>
          <a:prstGeom prst="rect">
            <a:avLst/>
          </a:prstGeom>
          <a:noFill/>
        </p:spPr>
        <p:txBody>
          <a:bodyPr wrap="square" lIns="91428" tIns="45714" rIns="91428" bIns="45714" rtlCol="0" anchor="ctr" anchorCtr="0">
            <a:noAutofit/>
          </a:bodyPr>
          <a:lstStyle/>
          <a:p>
            <a:pPr marL="365712" indent="-365712" fontAlgn="base">
              <a:spcBef>
                <a:spcPts val="24"/>
              </a:spcBef>
            </a:pPr>
            <a:r>
              <a:rPr lang="en-US" sz="3900" b="1" dirty="0" smtClean="0">
                <a:solidFill>
                  <a:srgbClr val="FFFFFF"/>
                </a:solidFill>
                <a:ea typeface="ＭＳ Ｐゴシック" pitchFamily="-109" charset="-128"/>
              </a:rPr>
              <a:t>Agenda and Objectives</a:t>
            </a:r>
            <a:endParaRPr lang="en-US" sz="3900" b="1" dirty="0">
              <a:solidFill>
                <a:srgbClr val="FFFFFF"/>
              </a:solidFill>
              <a:ea typeface="ＭＳ Ｐゴシック" pitchFamily="-10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72716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042032" y="6401483"/>
            <a:ext cx="2845529" cy="475538"/>
          </a:xfrm>
          <a:prstGeom prst="rect">
            <a:avLst/>
          </a:prstGeom>
        </p:spPr>
        <p:txBody>
          <a:bodyPr lIns="91428" tIns="45714" rIns="91428" bIns="45714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62E944-E5BB-453D-B67A-6386AA4F48EB}" type="slidenum">
              <a:rPr lang="en-US" sz="2000" b="1" smtClean="0">
                <a:solidFill>
                  <a:srgbClr val="FFFFFF"/>
                </a:solidFill>
                <a:latin typeface="Verdana" pitchFamily="34" charset="0"/>
                <a:ea typeface="ＭＳ Ｐゴシック" pitchFamily="-109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000" b="1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3024133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11468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7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59"/>
            <a:ext cx="1557878" cy="246461"/>
          </a:xfrm>
          <a:prstGeom prst="rect">
            <a:avLst/>
          </a:prstGeom>
          <a:noFill/>
        </p:spPr>
      </p:pic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84" y="0"/>
            <a:ext cx="11714429" cy="1053501"/>
          </a:xfrm>
        </p:spPr>
        <p:txBody>
          <a:bodyPr anchor="ctr">
            <a:noAutofit/>
          </a:bodyPr>
          <a:lstStyle>
            <a:lvl1pPr>
              <a:lnSpc>
                <a:spcPct val="75000"/>
              </a:lnSpc>
              <a:spcBef>
                <a:spcPts val="0"/>
              </a:spcBef>
              <a:defRPr sz="3900" b="1" cap="none" baseline="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677" y="1332975"/>
            <a:ext cx="11555238" cy="4930970"/>
          </a:xfrm>
        </p:spPr>
        <p:txBody>
          <a:bodyPr>
            <a:noAutofit/>
          </a:bodyPr>
          <a:lstStyle>
            <a:lvl1pPr marL="457140" indent="-457140">
              <a:buFont typeface="Arial"/>
              <a:buChar char="•"/>
              <a:defRPr sz="3600" cap="none"/>
            </a:lvl1pPr>
            <a:lvl2pPr marL="796934" indent="-306514">
              <a:buFont typeface="Lucida Grande"/>
              <a:buChar char="-"/>
              <a:defRPr sz="3200"/>
            </a:lvl2pPr>
            <a:lvl3pPr>
              <a:defRPr sz="3200"/>
            </a:lvl3pPr>
            <a:lvl4pPr marL="1716472" indent="-245210">
              <a:buFont typeface="Lucida Grande"/>
              <a:buChar char="-"/>
              <a:defRPr sz="28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Bullet Level 1</a:t>
            </a:r>
          </a:p>
          <a:p>
            <a:pPr lvl="1"/>
            <a:r>
              <a:rPr lang="en-US" dirty="0" smtClean="0"/>
              <a:t>Bullet Level 2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065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01: Bullet List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84" y="0"/>
            <a:ext cx="11714429" cy="1053501"/>
          </a:xfrm>
        </p:spPr>
        <p:txBody>
          <a:bodyPr anchor="ctr">
            <a:noAutofit/>
          </a:bodyPr>
          <a:lstStyle>
            <a:lvl1pPr>
              <a:defRPr sz="39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677" y="1332975"/>
            <a:ext cx="11555238" cy="4930970"/>
          </a:xfrm>
        </p:spPr>
        <p:txBody>
          <a:bodyPr>
            <a:noAutofit/>
          </a:bodyPr>
          <a:lstStyle>
            <a:lvl1pPr marL="457140" indent="-457140">
              <a:buFont typeface="Arial"/>
              <a:buChar char="•"/>
              <a:defRPr sz="3600" cap="none"/>
            </a:lvl1pPr>
            <a:lvl2pPr marL="796934" indent="-306514">
              <a:buFont typeface="Lucida Grande"/>
              <a:buChar char="-"/>
              <a:defRPr sz="3200"/>
            </a:lvl2pPr>
            <a:lvl3pPr>
              <a:defRPr sz="3200"/>
            </a:lvl3pPr>
            <a:lvl4pPr marL="1716472" indent="-245210">
              <a:buFont typeface="Lucida Grande"/>
              <a:buChar char="-"/>
              <a:defRPr sz="28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Bullet Level 1</a:t>
            </a:r>
          </a:p>
          <a:p>
            <a:pPr lvl="1"/>
            <a:r>
              <a:rPr lang="en-US" dirty="0" smtClean="0"/>
              <a:t>Bullet Level 2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759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042032" y="6401483"/>
            <a:ext cx="2845529" cy="475538"/>
          </a:xfrm>
          <a:prstGeom prst="rect">
            <a:avLst/>
          </a:prstGeom>
        </p:spPr>
        <p:txBody>
          <a:bodyPr lIns="91428" tIns="45714" rIns="91428" bIns="45714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62E944-E5BB-453D-B67A-6386AA4F48EB}" type="slidenum">
              <a:rPr lang="en-US" sz="2000" b="1" smtClean="0">
                <a:solidFill>
                  <a:srgbClr val="FFFFFF"/>
                </a:solidFill>
                <a:latin typeface="Verdana" pitchFamily="34" charset="0"/>
                <a:ea typeface="ＭＳ Ｐゴシック" pitchFamily="-109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000" b="1" dirty="0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3024133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11468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7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59"/>
            <a:ext cx="1557878" cy="246461"/>
          </a:xfrm>
          <a:prstGeom prst="rect">
            <a:avLst/>
          </a:prstGeom>
          <a:noFill/>
        </p:spPr>
      </p:pic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84" y="0"/>
            <a:ext cx="11714429" cy="1053501"/>
          </a:xfrm>
        </p:spPr>
        <p:txBody>
          <a:bodyPr anchor="ctr">
            <a:noAutofit/>
          </a:bodyPr>
          <a:lstStyle>
            <a:lvl1pPr>
              <a:defRPr sz="39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6" hasCustomPrompt="1"/>
          </p:nvPr>
        </p:nvSpPr>
        <p:spPr>
          <a:xfrm>
            <a:off x="461667" y="1766243"/>
            <a:ext cx="5519929" cy="4552546"/>
          </a:xfrm>
        </p:spPr>
        <p:txBody>
          <a:bodyPr/>
          <a:lstStyle>
            <a:lvl1pPr marL="457140" indent="-457140">
              <a:buFont typeface="Arial"/>
              <a:buChar char="•"/>
              <a:defRPr cap="none"/>
            </a:lvl1pPr>
            <a:lvl2pPr marL="490421" indent="0">
              <a:buNone/>
              <a:defRPr/>
            </a:lvl2pPr>
          </a:lstStyle>
          <a:p>
            <a:pPr lvl="0"/>
            <a:r>
              <a:rPr lang="en-US" dirty="0" smtClean="0"/>
              <a:t>Bullet 1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9" hasCustomPrompt="1"/>
          </p:nvPr>
        </p:nvSpPr>
        <p:spPr>
          <a:xfrm>
            <a:off x="457678" y="1213533"/>
            <a:ext cx="5511970" cy="513366"/>
          </a:xfrm>
        </p:spPr>
        <p:txBody>
          <a:bodyPr>
            <a:noAutofit/>
          </a:bodyPr>
          <a:lstStyle>
            <a:lvl1pPr>
              <a:defRPr sz="3200" cap="none" baseline="0"/>
            </a:lvl1pPr>
          </a:lstStyle>
          <a:p>
            <a:pPr lvl="0"/>
            <a:r>
              <a:rPr lang="en-US" dirty="0" smtClean="0"/>
              <a:t>Column Header</a:t>
            </a:r>
          </a:p>
        </p:txBody>
      </p:sp>
      <p:sp>
        <p:nvSpPr>
          <p:cNvPr id="21" name="Content Placeholder 11"/>
          <p:cNvSpPr>
            <a:spLocks noGrp="1"/>
          </p:cNvSpPr>
          <p:nvPr>
            <p:ph sz="quarter" idx="20" hasCustomPrompt="1"/>
          </p:nvPr>
        </p:nvSpPr>
        <p:spPr>
          <a:xfrm>
            <a:off x="6357156" y="1765811"/>
            <a:ext cx="5519929" cy="4552546"/>
          </a:xfrm>
        </p:spPr>
        <p:txBody>
          <a:bodyPr/>
          <a:lstStyle>
            <a:lvl1pPr marL="457140" indent="-457140">
              <a:buFont typeface="Arial"/>
              <a:buChar char="•"/>
              <a:defRPr cap="none"/>
            </a:lvl1pPr>
            <a:lvl2pPr marL="490421" indent="0">
              <a:buNone/>
              <a:defRPr/>
            </a:lvl2pPr>
          </a:lstStyle>
          <a:p>
            <a:pPr lvl="0"/>
            <a:r>
              <a:rPr lang="en-US" dirty="0" smtClean="0"/>
              <a:t>Bullet 1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21" hasCustomPrompt="1"/>
          </p:nvPr>
        </p:nvSpPr>
        <p:spPr>
          <a:xfrm>
            <a:off x="6353170" y="1213100"/>
            <a:ext cx="5511970" cy="513366"/>
          </a:xfrm>
        </p:spPr>
        <p:txBody>
          <a:bodyPr>
            <a:noAutofit/>
          </a:bodyPr>
          <a:lstStyle>
            <a:lvl1pPr>
              <a:defRPr sz="3200" cap="none" baseline="0"/>
            </a:lvl1pPr>
          </a:lstStyle>
          <a:p>
            <a:pPr lvl="0"/>
            <a:r>
              <a:rPr lang="en-US" dirty="0" smtClean="0"/>
              <a:t>Column Header</a:t>
            </a:r>
          </a:p>
        </p:txBody>
      </p:sp>
    </p:spTree>
    <p:extLst>
      <p:ext uri="{BB962C8B-B14F-4D97-AF65-F5344CB8AC3E}">
        <p14:creationId xmlns:p14="http://schemas.microsoft.com/office/powerpoint/2010/main" val="1182886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Title + White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042032" y="6401483"/>
            <a:ext cx="2845529" cy="475538"/>
          </a:xfrm>
          <a:prstGeom prst="rect">
            <a:avLst/>
          </a:prstGeom>
        </p:spPr>
        <p:txBody>
          <a:bodyPr lIns="91428" tIns="45714" rIns="91428" bIns="45714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62E944-E5BB-453D-B67A-6386AA4F48EB}" type="slidenum">
              <a:rPr lang="en-US" sz="2000" b="1" smtClean="0">
                <a:solidFill>
                  <a:srgbClr val="FFFFFF"/>
                </a:solidFill>
                <a:latin typeface="Verdana" pitchFamily="34" charset="0"/>
                <a:ea typeface="ＭＳ Ｐゴシック" pitchFamily="-109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000" b="1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3024133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11468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7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59"/>
            <a:ext cx="1557878" cy="246461"/>
          </a:xfrm>
          <a:prstGeom prst="rect">
            <a:avLst/>
          </a:prstGeom>
          <a:noFill/>
        </p:spPr>
      </p:pic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84" y="0"/>
            <a:ext cx="11714429" cy="1053501"/>
          </a:xfrm>
        </p:spPr>
        <p:txBody>
          <a:bodyPr anchor="ctr">
            <a:noAutofit/>
          </a:bodyPr>
          <a:lstStyle>
            <a:lvl1pPr>
              <a:defRPr sz="39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9015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0"/>
            <a:ext cx="12192000" cy="99058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42028" y="6401483"/>
            <a:ext cx="2845529" cy="4755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E957544-9087-3B48-86C1-7069BA52F761}" type="slidenum">
              <a:rPr lang="en-US" sz="2000" b="1">
                <a:solidFill>
                  <a:srgbClr val="FFFFFF"/>
                </a:solidFill>
                <a:latin typeface="Verdana" pitchFamily="34" charset="0"/>
                <a:ea typeface="ＭＳ Ｐゴシック" pitchFamily="-109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000" b="1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201511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01: Blue">
    <p:bg>
      <p:bgPr>
        <a:solidFill>
          <a:srgbClr val="23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1" y="1112180"/>
            <a:ext cx="10972800" cy="4648200"/>
          </a:xfrm>
          <a:prstGeom prst="rect">
            <a:avLst/>
          </a:prstGeom>
          <a:solidFill>
            <a:srgbClr val="234B8D"/>
          </a:solidFill>
        </p:spPr>
        <p:txBody>
          <a:bodyPr anchor="ctr"/>
          <a:lstStyle>
            <a:lvl1pPr algn="ctr"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92715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 userDrawn="1"/>
        </p:nvSpPr>
        <p:spPr>
          <a:xfrm>
            <a:off x="931334" y="6515100"/>
            <a:ext cx="198098" cy="406792"/>
          </a:xfrm>
          <a:prstGeom prst="rect">
            <a:avLst/>
          </a:prstGeom>
          <a:noFill/>
        </p:spPr>
        <p:txBody>
          <a:bodyPr wrap="none" lIns="98059" tIns="49029" rIns="98059" bIns="49029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pic>
        <p:nvPicPr>
          <p:cNvPr id="3" name="Picture 2" descr="relay_powerpoint_cover03a.ti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2000" cy="4174236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00639" y="4324834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3200" b="1" baseline="0"/>
            </a:lvl1pPr>
          </a:lstStyle>
          <a:p>
            <a:pPr lvl="0"/>
            <a:r>
              <a:rPr lang="en-US" dirty="0" smtClean="0"/>
              <a:t>Tit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16401" y="4768777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3200" b="0" cap="none" baseline="0"/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5811" y="5548708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2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resenter Nam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516401" y="5884265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20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Month Day, Year</a:t>
            </a:r>
          </a:p>
        </p:txBody>
      </p:sp>
    </p:spTree>
    <p:extLst>
      <p:ext uri="{BB962C8B-B14F-4D97-AF65-F5344CB8AC3E}">
        <p14:creationId xmlns:p14="http://schemas.microsoft.com/office/powerpoint/2010/main" val="3521100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01: Agenda and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3024129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311468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10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56"/>
            <a:ext cx="1557878" cy="24646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 userDrawn="1"/>
        </p:nvSpPr>
        <p:spPr>
          <a:xfrm>
            <a:off x="486439" y="1138036"/>
            <a:ext cx="4171481" cy="523208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u="sng" cap="small" dirty="0" smtClean="0">
                <a:solidFill>
                  <a:srgbClr val="000000"/>
                </a:solidFill>
                <a:ea typeface="ＭＳ Ｐゴシック" pitchFamily="-109" charset="-128"/>
              </a:rPr>
              <a:t>Agenda</a:t>
            </a:r>
            <a:endParaRPr lang="en-US" sz="2800" b="1" u="sng" cap="small" dirty="0">
              <a:solidFill>
                <a:srgbClr val="000000"/>
              </a:solidFill>
              <a:ea typeface="ＭＳ Ｐゴシック" pitchFamily="-109" charset="-128"/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501454" y="1647445"/>
            <a:ext cx="5147822" cy="4714539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 marL="182857" indent="-182857">
              <a:buFont typeface="Arial"/>
              <a:buChar char="•"/>
              <a:defRPr cap="none"/>
            </a:lvl1pPr>
            <a:lvl2pPr marL="548569" indent="-182857">
              <a:spcBef>
                <a:spcPts val="300"/>
              </a:spcBef>
              <a:buFont typeface="Lucida Grande"/>
              <a:buChar char="-"/>
              <a:defRPr sz="2400">
                <a:solidFill>
                  <a:srgbClr val="4C4C4C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6014017" y="1268099"/>
            <a:ext cx="5896085" cy="5168597"/>
          </a:xfrm>
          <a:prstGeom prst="rect">
            <a:avLst/>
          </a:prstGeom>
          <a:noFill/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00" b="1">
              <a:ln>
                <a:solidFill>
                  <a:srgbClr val="234B8D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6072376" y="1202636"/>
            <a:ext cx="5764016" cy="523208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u="sng" cap="small" dirty="0" smtClean="0">
                <a:solidFill>
                  <a:srgbClr val="000000"/>
                </a:solidFill>
                <a:ea typeface="ＭＳ Ｐゴシック" pitchFamily="-109" charset="-128"/>
              </a:rPr>
              <a:t>Objectives</a:t>
            </a:r>
            <a:endParaRPr lang="en-US" sz="2800" b="1" u="sng" cap="small" dirty="0">
              <a:solidFill>
                <a:srgbClr val="000000"/>
              </a:solidFill>
              <a:ea typeface="ＭＳ Ｐゴシック" pitchFamily="-109" charset="-128"/>
            </a:endParaRP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 hasCustomPrompt="1"/>
          </p:nvPr>
        </p:nvSpPr>
        <p:spPr>
          <a:xfrm>
            <a:off x="6190525" y="1635968"/>
            <a:ext cx="5645291" cy="4753911"/>
          </a:xfrm>
        </p:spPr>
        <p:txBody>
          <a:bodyPr>
            <a:noAutofit/>
          </a:bodyPr>
          <a:lstStyle>
            <a:lvl1pPr marL="274285" indent="-274285">
              <a:spcBef>
                <a:spcPts val="300"/>
              </a:spcBef>
              <a:buFont typeface="Wingdings" charset="2"/>
              <a:buChar char="q"/>
              <a:defRPr sz="2000" cap="none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Type the objective here</a:t>
            </a:r>
          </a:p>
        </p:txBody>
      </p:sp>
      <p:sp>
        <p:nvSpPr>
          <p:cNvPr id="35" name="TextBox 34"/>
          <p:cNvSpPr txBox="1"/>
          <p:nvPr userDrawn="1"/>
        </p:nvSpPr>
        <p:spPr>
          <a:xfrm>
            <a:off x="486427" y="0"/>
            <a:ext cx="11705573" cy="1062163"/>
          </a:xfrm>
          <a:prstGeom prst="rect">
            <a:avLst/>
          </a:prstGeom>
          <a:noFill/>
        </p:spPr>
        <p:txBody>
          <a:bodyPr wrap="square" lIns="91428" tIns="45714" rIns="91428" bIns="45714" rtlCol="0" anchor="ctr" anchorCtr="0">
            <a:noAutofit/>
          </a:bodyPr>
          <a:lstStyle/>
          <a:p>
            <a:pPr marL="365712" indent="-365712" fontAlgn="base">
              <a:spcBef>
                <a:spcPts val="24"/>
              </a:spcBef>
            </a:pPr>
            <a:r>
              <a:rPr lang="en-US" sz="3900" b="1" dirty="0" smtClean="0">
                <a:solidFill>
                  <a:srgbClr val="FFFFFF"/>
                </a:solidFill>
                <a:ea typeface="ＭＳ Ｐゴシック" pitchFamily="-109" charset="-128"/>
              </a:rPr>
              <a:t>Agenda and Objectives</a:t>
            </a:r>
            <a:endParaRPr lang="en-US" sz="3900" b="1" dirty="0">
              <a:solidFill>
                <a:srgbClr val="FFFFFF"/>
              </a:solidFill>
              <a:ea typeface="ＭＳ Ｐゴシック" pitchFamily="-10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53203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9" y="6509699"/>
            <a:ext cx="346570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3" y="316315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4697" y="1528451"/>
            <a:ext cx="11516732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852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042028" y="6401483"/>
            <a:ext cx="2845529" cy="475538"/>
          </a:xfrm>
          <a:prstGeom prst="rect">
            <a:avLst/>
          </a:prstGeom>
        </p:spPr>
        <p:txBody>
          <a:bodyPr lIns="91428" tIns="45714" rIns="91428" bIns="45714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62E944-E5BB-453D-B67A-6386AA4F48EB}" type="slidenum">
              <a:rPr lang="en-US" sz="2000" b="1" smtClean="0">
                <a:solidFill>
                  <a:srgbClr val="FFFFFF"/>
                </a:solidFill>
                <a:latin typeface="Verdana" pitchFamily="34" charset="0"/>
                <a:ea typeface="ＭＳ Ｐゴシック" pitchFamily="-109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000" b="1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3024129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11468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7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56"/>
            <a:ext cx="1557878" cy="246461"/>
          </a:xfrm>
          <a:prstGeom prst="rect">
            <a:avLst/>
          </a:prstGeom>
          <a:noFill/>
        </p:spPr>
      </p:pic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81" y="0"/>
            <a:ext cx="11714429" cy="1053501"/>
          </a:xfrm>
        </p:spPr>
        <p:txBody>
          <a:bodyPr anchor="ctr">
            <a:noAutofit/>
          </a:bodyPr>
          <a:lstStyle>
            <a:lvl1pPr>
              <a:lnSpc>
                <a:spcPct val="75000"/>
              </a:lnSpc>
              <a:spcBef>
                <a:spcPts val="0"/>
              </a:spcBef>
              <a:defRPr sz="3900" b="1" cap="none" baseline="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677" y="1332975"/>
            <a:ext cx="11555238" cy="4930970"/>
          </a:xfrm>
        </p:spPr>
        <p:txBody>
          <a:bodyPr>
            <a:noAutofit/>
          </a:bodyPr>
          <a:lstStyle>
            <a:lvl1pPr marL="457140" indent="-457140">
              <a:buFont typeface="Arial"/>
              <a:buChar char="•"/>
              <a:defRPr sz="3600" cap="none"/>
            </a:lvl1pPr>
            <a:lvl2pPr marL="796934" indent="-306514">
              <a:buFont typeface="Lucida Grande"/>
              <a:buChar char="-"/>
              <a:defRPr sz="3200"/>
            </a:lvl2pPr>
            <a:lvl3pPr>
              <a:defRPr sz="3200"/>
            </a:lvl3pPr>
            <a:lvl4pPr marL="1716472" indent="-245210">
              <a:buFont typeface="Lucida Grande"/>
              <a:buChar char="-"/>
              <a:defRPr sz="28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Bullet Level 1</a:t>
            </a:r>
          </a:p>
          <a:p>
            <a:pPr lvl="1"/>
            <a:r>
              <a:rPr lang="en-US" dirty="0" smtClean="0"/>
              <a:t>Bullet Level 2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0305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01: Bullet List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81" y="0"/>
            <a:ext cx="11714429" cy="1053501"/>
          </a:xfrm>
        </p:spPr>
        <p:txBody>
          <a:bodyPr anchor="ctr">
            <a:noAutofit/>
          </a:bodyPr>
          <a:lstStyle>
            <a:lvl1pPr>
              <a:defRPr sz="39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677" y="1332975"/>
            <a:ext cx="11555238" cy="4930970"/>
          </a:xfrm>
        </p:spPr>
        <p:txBody>
          <a:bodyPr>
            <a:noAutofit/>
          </a:bodyPr>
          <a:lstStyle>
            <a:lvl1pPr marL="457140" indent="-457140">
              <a:buFont typeface="Arial"/>
              <a:buChar char="•"/>
              <a:defRPr sz="3600" cap="none"/>
            </a:lvl1pPr>
            <a:lvl2pPr marL="796934" indent="-306514">
              <a:buFont typeface="Lucida Grande"/>
              <a:buChar char="-"/>
              <a:defRPr sz="3200"/>
            </a:lvl2pPr>
            <a:lvl3pPr>
              <a:defRPr sz="3200"/>
            </a:lvl3pPr>
            <a:lvl4pPr marL="1716472" indent="-245210">
              <a:buFont typeface="Lucida Grande"/>
              <a:buChar char="-"/>
              <a:defRPr sz="28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Bullet Level 1</a:t>
            </a:r>
          </a:p>
          <a:p>
            <a:pPr lvl="1"/>
            <a:r>
              <a:rPr lang="en-US" dirty="0" smtClean="0"/>
              <a:t>Bullet Level 2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068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042028" y="6401483"/>
            <a:ext cx="2845529" cy="475538"/>
          </a:xfrm>
          <a:prstGeom prst="rect">
            <a:avLst/>
          </a:prstGeom>
        </p:spPr>
        <p:txBody>
          <a:bodyPr lIns="91428" tIns="45714" rIns="91428" bIns="45714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62E944-E5BB-453D-B67A-6386AA4F48EB}" type="slidenum">
              <a:rPr lang="en-US" sz="2000" b="1" smtClean="0">
                <a:solidFill>
                  <a:srgbClr val="FFFFFF"/>
                </a:solidFill>
                <a:latin typeface="Verdana" pitchFamily="34" charset="0"/>
                <a:ea typeface="ＭＳ Ｐゴシック" pitchFamily="-109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000" b="1" dirty="0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3024129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11468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7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56"/>
            <a:ext cx="1557878" cy="246461"/>
          </a:xfrm>
          <a:prstGeom prst="rect">
            <a:avLst/>
          </a:prstGeom>
          <a:noFill/>
        </p:spPr>
      </p:pic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81" y="0"/>
            <a:ext cx="11714429" cy="1053501"/>
          </a:xfrm>
        </p:spPr>
        <p:txBody>
          <a:bodyPr anchor="ctr">
            <a:noAutofit/>
          </a:bodyPr>
          <a:lstStyle>
            <a:lvl1pPr>
              <a:defRPr sz="39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6" hasCustomPrompt="1"/>
          </p:nvPr>
        </p:nvSpPr>
        <p:spPr>
          <a:xfrm>
            <a:off x="461663" y="1766243"/>
            <a:ext cx="5519929" cy="4552546"/>
          </a:xfrm>
        </p:spPr>
        <p:txBody>
          <a:bodyPr/>
          <a:lstStyle>
            <a:lvl1pPr marL="457140" indent="-457140">
              <a:buFont typeface="Arial"/>
              <a:buChar char="•"/>
              <a:defRPr cap="none"/>
            </a:lvl1pPr>
            <a:lvl2pPr marL="490421" indent="0">
              <a:buNone/>
              <a:defRPr/>
            </a:lvl2pPr>
          </a:lstStyle>
          <a:p>
            <a:pPr lvl="0"/>
            <a:r>
              <a:rPr lang="en-US" dirty="0" smtClean="0"/>
              <a:t>Bullet 1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9" hasCustomPrompt="1"/>
          </p:nvPr>
        </p:nvSpPr>
        <p:spPr>
          <a:xfrm>
            <a:off x="457678" y="1213533"/>
            <a:ext cx="5511970" cy="513366"/>
          </a:xfrm>
        </p:spPr>
        <p:txBody>
          <a:bodyPr>
            <a:noAutofit/>
          </a:bodyPr>
          <a:lstStyle>
            <a:lvl1pPr>
              <a:defRPr sz="3200" cap="none" baseline="0"/>
            </a:lvl1pPr>
          </a:lstStyle>
          <a:p>
            <a:pPr lvl="0"/>
            <a:r>
              <a:rPr lang="en-US" dirty="0" smtClean="0"/>
              <a:t>Column Header</a:t>
            </a:r>
          </a:p>
        </p:txBody>
      </p:sp>
      <p:sp>
        <p:nvSpPr>
          <p:cNvPr id="21" name="Content Placeholder 11"/>
          <p:cNvSpPr>
            <a:spLocks noGrp="1"/>
          </p:cNvSpPr>
          <p:nvPr>
            <p:ph sz="quarter" idx="20" hasCustomPrompt="1"/>
          </p:nvPr>
        </p:nvSpPr>
        <p:spPr>
          <a:xfrm>
            <a:off x="6357153" y="1765811"/>
            <a:ext cx="5519929" cy="4552546"/>
          </a:xfrm>
        </p:spPr>
        <p:txBody>
          <a:bodyPr/>
          <a:lstStyle>
            <a:lvl1pPr marL="457140" indent="-457140">
              <a:buFont typeface="Arial"/>
              <a:buChar char="•"/>
              <a:defRPr cap="none"/>
            </a:lvl1pPr>
            <a:lvl2pPr marL="490421" indent="0">
              <a:buNone/>
              <a:defRPr/>
            </a:lvl2pPr>
          </a:lstStyle>
          <a:p>
            <a:pPr lvl="0"/>
            <a:r>
              <a:rPr lang="en-US" dirty="0" smtClean="0"/>
              <a:t>Bullet 1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21" hasCustomPrompt="1"/>
          </p:nvPr>
        </p:nvSpPr>
        <p:spPr>
          <a:xfrm>
            <a:off x="6353170" y="1213100"/>
            <a:ext cx="5511970" cy="513366"/>
          </a:xfrm>
        </p:spPr>
        <p:txBody>
          <a:bodyPr>
            <a:noAutofit/>
          </a:bodyPr>
          <a:lstStyle>
            <a:lvl1pPr>
              <a:defRPr sz="3200" cap="none" baseline="0"/>
            </a:lvl1pPr>
          </a:lstStyle>
          <a:p>
            <a:pPr lvl="0"/>
            <a:r>
              <a:rPr lang="en-US" dirty="0" smtClean="0"/>
              <a:t>Column Header</a:t>
            </a:r>
          </a:p>
        </p:txBody>
      </p:sp>
    </p:spTree>
    <p:extLst>
      <p:ext uri="{BB962C8B-B14F-4D97-AF65-F5344CB8AC3E}">
        <p14:creationId xmlns:p14="http://schemas.microsoft.com/office/powerpoint/2010/main" val="861509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Title + White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042028" y="6401483"/>
            <a:ext cx="2845529" cy="475538"/>
          </a:xfrm>
          <a:prstGeom prst="rect">
            <a:avLst/>
          </a:prstGeom>
        </p:spPr>
        <p:txBody>
          <a:bodyPr lIns="91428" tIns="45714" rIns="91428" bIns="45714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62E944-E5BB-453D-B67A-6386AA4F48EB}" type="slidenum">
              <a:rPr lang="en-US" sz="2000" b="1" smtClean="0">
                <a:solidFill>
                  <a:srgbClr val="FFFFFF"/>
                </a:solidFill>
                <a:latin typeface="Verdana" pitchFamily="34" charset="0"/>
                <a:ea typeface="ＭＳ Ｐゴシック" pitchFamily="-109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000" b="1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3024129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11468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7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56"/>
            <a:ext cx="1557878" cy="246461"/>
          </a:xfrm>
          <a:prstGeom prst="rect">
            <a:avLst/>
          </a:prstGeom>
          <a:noFill/>
        </p:spPr>
      </p:pic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81" y="0"/>
            <a:ext cx="11714429" cy="1053501"/>
          </a:xfrm>
        </p:spPr>
        <p:txBody>
          <a:bodyPr anchor="ctr">
            <a:noAutofit/>
          </a:bodyPr>
          <a:lstStyle>
            <a:lvl1pPr>
              <a:defRPr sz="39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0544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0"/>
            <a:ext cx="12192000" cy="99058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42024" y="6401483"/>
            <a:ext cx="2845529" cy="4755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E957544-9087-3B48-86C1-7069BA52F761}" type="slidenum">
              <a:rPr lang="en-US" sz="2000" b="1">
                <a:solidFill>
                  <a:srgbClr val="FFFFFF"/>
                </a:solidFill>
                <a:latin typeface="Verdana" pitchFamily="34" charset="0"/>
                <a:ea typeface="ＭＳ Ｐゴシック" pitchFamily="-109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000" b="1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784474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01: Blue">
    <p:bg>
      <p:bgPr>
        <a:solidFill>
          <a:srgbClr val="23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1" y="1112180"/>
            <a:ext cx="10972800" cy="4648200"/>
          </a:xfrm>
          <a:prstGeom prst="rect">
            <a:avLst/>
          </a:prstGeom>
          <a:solidFill>
            <a:srgbClr val="234B8D"/>
          </a:solidFill>
        </p:spPr>
        <p:txBody>
          <a:bodyPr anchor="ctr"/>
          <a:lstStyle>
            <a:lvl1pPr algn="ctr"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23890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 userDrawn="1"/>
        </p:nvSpPr>
        <p:spPr>
          <a:xfrm>
            <a:off x="931335" y="6515100"/>
            <a:ext cx="198098" cy="406792"/>
          </a:xfrm>
          <a:prstGeom prst="rect">
            <a:avLst/>
          </a:prstGeom>
          <a:noFill/>
        </p:spPr>
        <p:txBody>
          <a:bodyPr wrap="none" lIns="98059" tIns="49029" rIns="98059" bIns="49029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pic>
        <p:nvPicPr>
          <p:cNvPr id="3" name="Picture 2" descr="relay_powerpoint_cover03a.ti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4174236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00637" y="4324834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3200" b="1" baseline="0"/>
            </a:lvl1pPr>
          </a:lstStyle>
          <a:p>
            <a:pPr lvl="0"/>
            <a:r>
              <a:rPr lang="en-US" dirty="0" smtClean="0"/>
              <a:t>Titl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16401" y="4768777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3200" b="0" cap="none" baseline="0"/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5809" y="5548708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24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resenter Nam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516401" y="5884265"/>
            <a:ext cx="11513451" cy="574124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 sz="20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Month Day, Year</a:t>
            </a:r>
          </a:p>
        </p:txBody>
      </p:sp>
    </p:spTree>
    <p:extLst>
      <p:ext uri="{BB962C8B-B14F-4D97-AF65-F5344CB8AC3E}">
        <p14:creationId xmlns:p14="http://schemas.microsoft.com/office/powerpoint/2010/main" val="2226737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01: Agenda and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3024124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311467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10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52"/>
            <a:ext cx="1557878" cy="24646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 userDrawn="1"/>
        </p:nvSpPr>
        <p:spPr>
          <a:xfrm>
            <a:off x="486434" y="1138036"/>
            <a:ext cx="4171481" cy="523208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u="sng" cap="small" dirty="0" smtClean="0">
                <a:solidFill>
                  <a:srgbClr val="000000"/>
                </a:solidFill>
                <a:ea typeface="ＭＳ Ｐゴシック" pitchFamily="-109" charset="-128"/>
              </a:rPr>
              <a:t>Agenda</a:t>
            </a:r>
            <a:endParaRPr lang="en-US" sz="2800" b="1" u="sng" cap="small" dirty="0">
              <a:solidFill>
                <a:srgbClr val="000000"/>
              </a:solidFill>
              <a:ea typeface="ＭＳ Ｐゴシック" pitchFamily="-109" charset="-128"/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501454" y="1647441"/>
            <a:ext cx="5147822" cy="4714539"/>
          </a:xfrm>
          <a:ln>
            <a:solidFill>
              <a:schemeClr val="bg1"/>
            </a:solidFill>
          </a:ln>
        </p:spPr>
        <p:txBody>
          <a:bodyPr>
            <a:noAutofit/>
          </a:bodyPr>
          <a:lstStyle>
            <a:lvl1pPr marL="182857" indent="-182857">
              <a:buFont typeface="Arial"/>
              <a:buChar char="•"/>
              <a:defRPr cap="none"/>
            </a:lvl1pPr>
            <a:lvl2pPr marL="548569" indent="-182857">
              <a:spcBef>
                <a:spcPts val="300"/>
              </a:spcBef>
              <a:buFont typeface="Lucida Grande"/>
              <a:buChar char="-"/>
              <a:defRPr sz="2400">
                <a:solidFill>
                  <a:srgbClr val="4C4C4C"/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6014012" y="1268095"/>
            <a:ext cx="5896085" cy="5168597"/>
          </a:xfrm>
          <a:prstGeom prst="rect">
            <a:avLst/>
          </a:prstGeom>
          <a:noFill/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00" b="1">
              <a:ln>
                <a:solidFill>
                  <a:srgbClr val="234B8D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6072376" y="1202636"/>
            <a:ext cx="5764016" cy="523208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u="sng" cap="small" dirty="0" smtClean="0">
                <a:solidFill>
                  <a:srgbClr val="000000"/>
                </a:solidFill>
                <a:ea typeface="ＭＳ Ｐゴシック" pitchFamily="-109" charset="-128"/>
              </a:rPr>
              <a:t>Objectives</a:t>
            </a:r>
            <a:endParaRPr lang="en-US" sz="2800" b="1" u="sng" cap="small" dirty="0">
              <a:solidFill>
                <a:srgbClr val="000000"/>
              </a:solidFill>
              <a:ea typeface="ＭＳ Ｐゴシック" pitchFamily="-109" charset="-128"/>
            </a:endParaRP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 hasCustomPrompt="1"/>
          </p:nvPr>
        </p:nvSpPr>
        <p:spPr>
          <a:xfrm>
            <a:off x="6190520" y="1635968"/>
            <a:ext cx="5645291" cy="4753911"/>
          </a:xfrm>
        </p:spPr>
        <p:txBody>
          <a:bodyPr>
            <a:noAutofit/>
          </a:bodyPr>
          <a:lstStyle>
            <a:lvl1pPr marL="274285" indent="-274285">
              <a:spcBef>
                <a:spcPts val="300"/>
              </a:spcBef>
              <a:buFont typeface="Wingdings" charset="2"/>
              <a:buChar char="q"/>
              <a:defRPr sz="2000" cap="none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Type the objective here</a:t>
            </a:r>
          </a:p>
        </p:txBody>
      </p:sp>
      <p:sp>
        <p:nvSpPr>
          <p:cNvPr id="35" name="TextBox 34"/>
          <p:cNvSpPr txBox="1"/>
          <p:nvPr userDrawn="1"/>
        </p:nvSpPr>
        <p:spPr>
          <a:xfrm>
            <a:off x="486427" y="0"/>
            <a:ext cx="11705573" cy="1062163"/>
          </a:xfrm>
          <a:prstGeom prst="rect">
            <a:avLst/>
          </a:prstGeom>
          <a:noFill/>
        </p:spPr>
        <p:txBody>
          <a:bodyPr wrap="square" lIns="91428" tIns="45714" rIns="91428" bIns="45714" rtlCol="0" anchor="ctr" anchorCtr="0">
            <a:noAutofit/>
          </a:bodyPr>
          <a:lstStyle/>
          <a:p>
            <a:pPr marL="365712" indent="-365712" fontAlgn="base">
              <a:spcBef>
                <a:spcPts val="24"/>
              </a:spcBef>
            </a:pPr>
            <a:r>
              <a:rPr lang="en-US" sz="3900" b="1" dirty="0" smtClean="0">
                <a:solidFill>
                  <a:srgbClr val="FFFFFF"/>
                </a:solidFill>
                <a:ea typeface="ＭＳ Ｐゴシック" pitchFamily="-109" charset="-128"/>
              </a:rPr>
              <a:t>Agenda and Objectives</a:t>
            </a:r>
            <a:endParaRPr lang="en-US" sz="3900" b="1" dirty="0">
              <a:solidFill>
                <a:srgbClr val="FFFFFF"/>
              </a:solidFill>
              <a:ea typeface="ＭＳ Ｐゴシック" pitchFamily="-10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2124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042023" y="6401483"/>
            <a:ext cx="2845529" cy="475538"/>
          </a:xfrm>
          <a:prstGeom prst="rect">
            <a:avLst/>
          </a:prstGeom>
        </p:spPr>
        <p:txBody>
          <a:bodyPr lIns="91428" tIns="45714" rIns="91428" bIns="45714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62E944-E5BB-453D-B67A-6386AA4F48EB}" type="slidenum">
              <a:rPr lang="en-US" sz="2000" b="1" smtClean="0">
                <a:solidFill>
                  <a:srgbClr val="FFFFFF"/>
                </a:solidFill>
                <a:latin typeface="Verdana" pitchFamily="34" charset="0"/>
                <a:ea typeface="ＭＳ Ｐゴシック" pitchFamily="-109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000" b="1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3024124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11467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7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52"/>
            <a:ext cx="1557878" cy="246461"/>
          </a:xfrm>
          <a:prstGeom prst="rect">
            <a:avLst/>
          </a:prstGeom>
          <a:noFill/>
        </p:spPr>
      </p:pic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76" y="0"/>
            <a:ext cx="11714429" cy="1053501"/>
          </a:xfrm>
        </p:spPr>
        <p:txBody>
          <a:bodyPr anchor="ctr">
            <a:noAutofit/>
          </a:bodyPr>
          <a:lstStyle>
            <a:lvl1pPr>
              <a:lnSpc>
                <a:spcPct val="75000"/>
              </a:lnSpc>
              <a:spcBef>
                <a:spcPts val="0"/>
              </a:spcBef>
              <a:defRPr sz="3900" b="1" cap="none" baseline="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677" y="1332975"/>
            <a:ext cx="11555238" cy="4930970"/>
          </a:xfrm>
        </p:spPr>
        <p:txBody>
          <a:bodyPr>
            <a:noAutofit/>
          </a:bodyPr>
          <a:lstStyle>
            <a:lvl1pPr marL="457140" indent="-457140">
              <a:buFont typeface="Arial"/>
              <a:buChar char="•"/>
              <a:defRPr sz="3600" cap="none"/>
            </a:lvl1pPr>
            <a:lvl2pPr marL="796934" indent="-306514">
              <a:buFont typeface="Lucida Grande"/>
              <a:buChar char="-"/>
              <a:defRPr sz="3200"/>
            </a:lvl2pPr>
            <a:lvl3pPr>
              <a:defRPr sz="3200"/>
            </a:lvl3pPr>
            <a:lvl4pPr marL="1716472" indent="-245210">
              <a:buFont typeface="Lucida Grande"/>
              <a:buChar char="-"/>
              <a:defRPr sz="28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Bullet Level 1</a:t>
            </a:r>
          </a:p>
          <a:p>
            <a:pPr lvl="1"/>
            <a:r>
              <a:rPr lang="en-US" dirty="0" smtClean="0"/>
              <a:t>Bullet Level 2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230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01: Bullet List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76" y="0"/>
            <a:ext cx="11714429" cy="1053501"/>
          </a:xfrm>
        </p:spPr>
        <p:txBody>
          <a:bodyPr anchor="ctr">
            <a:noAutofit/>
          </a:bodyPr>
          <a:lstStyle>
            <a:lvl1pPr>
              <a:defRPr sz="39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677" y="1332975"/>
            <a:ext cx="11555238" cy="4930970"/>
          </a:xfrm>
        </p:spPr>
        <p:txBody>
          <a:bodyPr>
            <a:noAutofit/>
          </a:bodyPr>
          <a:lstStyle>
            <a:lvl1pPr marL="457140" indent="-457140">
              <a:buFont typeface="Arial"/>
              <a:buChar char="•"/>
              <a:defRPr sz="3600" cap="none"/>
            </a:lvl1pPr>
            <a:lvl2pPr marL="796934" indent="-306514">
              <a:buFont typeface="Lucida Grande"/>
              <a:buChar char="-"/>
              <a:defRPr sz="3200"/>
            </a:lvl2pPr>
            <a:lvl3pPr>
              <a:defRPr sz="3200"/>
            </a:lvl3pPr>
            <a:lvl4pPr marL="1716472" indent="-245210">
              <a:buFont typeface="Lucida Grande"/>
              <a:buChar char="-"/>
              <a:defRPr sz="28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Bullet Level 1</a:t>
            </a:r>
          </a:p>
          <a:p>
            <a:pPr lvl="1"/>
            <a:r>
              <a:rPr lang="en-US" dirty="0" smtClean="0"/>
              <a:t>Bullet Level 2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9" y="6509699"/>
            <a:ext cx="346570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6406965" y="1602928"/>
            <a:ext cx="5779277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3" y="316315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6606626" y="1851472"/>
            <a:ext cx="5208696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52" y="1602925"/>
            <a:ext cx="6400800" cy="4572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973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042023" y="6401483"/>
            <a:ext cx="2845529" cy="475538"/>
          </a:xfrm>
          <a:prstGeom prst="rect">
            <a:avLst/>
          </a:prstGeom>
        </p:spPr>
        <p:txBody>
          <a:bodyPr lIns="91428" tIns="45714" rIns="91428" bIns="45714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62E944-E5BB-453D-B67A-6386AA4F48EB}" type="slidenum">
              <a:rPr lang="en-US" sz="2000" b="1" smtClean="0">
                <a:solidFill>
                  <a:srgbClr val="FFFFFF"/>
                </a:solidFill>
                <a:latin typeface="Verdana" pitchFamily="34" charset="0"/>
                <a:ea typeface="ＭＳ Ｐゴシック" pitchFamily="-109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000" b="1" dirty="0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3024124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11467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7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52"/>
            <a:ext cx="1557878" cy="246461"/>
          </a:xfrm>
          <a:prstGeom prst="rect">
            <a:avLst/>
          </a:prstGeom>
          <a:noFill/>
        </p:spPr>
      </p:pic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76" y="0"/>
            <a:ext cx="11714429" cy="1053501"/>
          </a:xfrm>
        </p:spPr>
        <p:txBody>
          <a:bodyPr anchor="ctr">
            <a:noAutofit/>
          </a:bodyPr>
          <a:lstStyle>
            <a:lvl1pPr>
              <a:defRPr sz="39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6" hasCustomPrompt="1"/>
          </p:nvPr>
        </p:nvSpPr>
        <p:spPr>
          <a:xfrm>
            <a:off x="461658" y="1766243"/>
            <a:ext cx="5519929" cy="4552546"/>
          </a:xfrm>
        </p:spPr>
        <p:txBody>
          <a:bodyPr/>
          <a:lstStyle>
            <a:lvl1pPr marL="457140" indent="-457140">
              <a:buFont typeface="Arial"/>
              <a:buChar char="•"/>
              <a:defRPr cap="none"/>
            </a:lvl1pPr>
            <a:lvl2pPr marL="490421" indent="0">
              <a:buNone/>
              <a:defRPr/>
            </a:lvl2pPr>
          </a:lstStyle>
          <a:p>
            <a:pPr lvl="0"/>
            <a:r>
              <a:rPr lang="en-US" dirty="0" smtClean="0"/>
              <a:t>Bullet 1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9" hasCustomPrompt="1"/>
          </p:nvPr>
        </p:nvSpPr>
        <p:spPr>
          <a:xfrm>
            <a:off x="457677" y="1213533"/>
            <a:ext cx="5511970" cy="513366"/>
          </a:xfrm>
        </p:spPr>
        <p:txBody>
          <a:bodyPr>
            <a:noAutofit/>
          </a:bodyPr>
          <a:lstStyle>
            <a:lvl1pPr>
              <a:defRPr sz="3200" cap="none" baseline="0"/>
            </a:lvl1pPr>
          </a:lstStyle>
          <a:p>
            <a:pPr lvl="0"/>
            <a:r>
              <a:rPr lang="en-US" dirty="0" smtClean="0"/>
              <a:t>Column Header</a:t>
            </a:r>
          </a:p>
        </p:txBody>
      </p:sp>
      <p:sp>
        <p:nvSpPr>
          <p:cNvPr id="21" name="Content Placeholder 11"/>
          <p:cNvSpPr>
            <a:spLocks noGrp="1"/>
          </p:cNvSpPr>
          <p:nvPr>
            <p:ph sz="quarter" idx="20" hasCustomPrompt="1"/>
          </p:nvPr>
        </p:nvSpPr>
        <p:spPr>
          <a:xfrm>
            <a:off x="6357148" y="1765811"/>
            <a:ext cx="5519929" cy="4552546"/>
          </a:xfrm>
        </p:spPr>
        <p:txBody>
          <a:bodyPr/>
          <a:lstStyle>
            <a:lvl1pPr marL="457140" indent="-457140">
              <a:buFont typeface="Arial"/>
              <a:buChar char="•"/>
              <a:defRPr cap="none"/>
            </a:lvl1pPr>
            <a:lvl2pPr marL="490421" indent="0">
              <a:buNone/>
              <a:defRPr/>
            </a:lvl2pPr>
          </a:lstStyle>
          <a:p>
            <a:pPr lvl="0"/>
            <a:r>
              <a:rPr lang="en-US" dirty="0" smtClean="0"/>
              <a:t>Bullet 1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21" hasCustomPrompt="1"/>
          </p:nvPr>
        </p:nvSpPr>
        <p:spPr>
          <a:xfrm>
            <a:off x="6353168" y="1213100"/>
            <a:ext cx="5511970" cy="513366"/>
          </a:xfrm>
        </p:spPr>
        <p:txBody>
          <a:bodyPr>
            <a:noAutofit/>
          </a:bodyPr>
          <a:lstStyle>
            <a:lvl1pPr>
              <a:defRPr sz="3200" cap="none" baseline="0"/>
            </a:lvl1pPr>
          </a:lstStyle>
          <a:p>
            <a:pPr lvl="0"/>
            <a:r>
              <a:rPr lang="en-US" dirty="0" smtClean="0"/>
              <a:t>Column Header</a:t>
            </a:r>
          </a:p>
        </p:txBody>
      </p:sp>
    </p:spTree>
    <p:extLst>
      <p:ext uri="{BB962C8B-B14F-4D97-AF65-F5344CB8AC3E}">
        <p14:creationId xmlns:p14="http://schemas.microsoft.com/office/powerpoint/2010/main" val="298727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01: Title + White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042023" y="6401483"/>
            <a:ext cx="2845529" cy="475538"/>
          </a:xfrm>
          <a:prstGeom prst="rect">
            <a:avLst/>
          </a:prstGeom>
        </p:spPr>
        <p:txBody>
          <a:bodyPr lIns="91428" tIns="45714" rIns="91428" bIns="45714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62E944-E5BB-453D-B67A-6386AA4F48EB}" type="slidenum">
              <a:rPr lang="en-US" sz="2000" b="1" smtClean="0">
                <a:solidFill>
                  <a:srgbClr val="FFFFFF"/>
                </a:solidFill>
                <a:latin typeface="Verdana" pitchFamily="34" charset="0"/>
                <a:ea typeface="ＭＳ Ｐゴシック" pitchFamily="-109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000" b="1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3024124" y="6451600"/>
            <a:ext cx="6163733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1F497D"/>
                </a:solidFill>
                <a:cs typeface="Helvetica"/>
              </a:rPr>
              <a:t>© </a:t>
            </a:r>
            <a:r>
              <a:rPr lang="en-US" sz="1000" b="1" dirty="0" smtClean="0">
                <a:solidFill>
                  <a:srgbClr val="234B8D"/>
                </a:solidFill>
                <a:cs typeface="Helvetica"/>
              </a:rPr>
              <a:t>2014 Relay Graduate School of Education. All rights reserved.</a:t>
            </a:r>
            <a:endParaRPr lang="en-US" sz="1000" b="1" dirty="0">
              <a:solidFill>
                <a:srgbClr val="234B8D"/>
              </a:solidFill>
              <a:cs typeface="Helvetica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1311467" y="6464300"/>
            <a:ext cx="2844800" cy="365125"/>
          </a:xfrm>
          <a:prstGeom prst="rect">
            <a:avLst/>
          </a:prstGeom>
        </p:spPr>
        <p:txBody>
          <a:bodyPr vert="horz" lIns="98084" tIns="49042" rIns="98084" bIns="49042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C6E7F8CA-8E1F-DF41-9FD6-68CF1A5A635F}" type="slidenum">
              <a:rPr lang="en-US" sz="1000" b="1" smtClean="0">
                <a:solidFill>
                  <a:srgbClr val="778ABC"/>
                </a:solidFill>
                <a:cs typeface="Helvetica"/>
              </a:rPr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b="1" dirty="0">
              <a:solidFill>
                <a:srgbClr val="778ABC"/>
              </a:solidFill>
              <a:cs typeface="Helvetica"/>
            </a:endParaRPr>
          </a:p>
        </p:txBody>
      </p:sp>
      <p:pic>
        <p:nvPicPr>
          <p:cNvPr id="7" name="Picture 2" descr="S:\Marketing-PR\RGSE Branding\Logos\Logo with Subhead - No ruler\RGSE_logo_withsubhead_lo_F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122" y="6432552"/>
            <a:ext cx="1557878" cy="246461"/>
          </a:xfrm>
          <a:prstGeom prst="rect">
            <a:avLst/>
          </a:prstGeom>
          <a:noFill/>
        </p:spPr>
      </p:pic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7576" y="0"/>
            <a:ext cx="11714429" cy="1053501"/>
          </a:xfrm>
        </p:spPr>
        <p:txBody>
          <a:bodyPr anchor="ctr">
            <a:noAutofit/>
          </a:bodyPr>
          <a:lstStyle>
            <a:lvl1pPr>
              <a:defRPr sz="39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08259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45887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0" y="268845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69593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-2" y="1602925"/>
            <a:ext cx="5792593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792592" y="1602925"/>
            <a:ext cx="6400800" cy="4572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191930" y="1822891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315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4696" y="1528451"/>
            <a:ext cx="11516730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899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6406952" y="1602925"/>
            <a:ext cx="5779277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6606623" y="1851472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52" y="1602925"/>
            <a:ext cx="6400800" cy="4572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25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Headin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1199638"/>
            <a:ext cx="12192000" cy="521208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83702" y="202366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4000" kern="1200" dirty="0">
                <a:solidFill>
                  <a:srgbClr val="7499C6"/>
                </a:solidFill>
                <a:latin typeface="Knockout 30 Junior Welterwt" pitchFamily="50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91380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4008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2239617" y="1147979"/>
            <a:ext cx="7712766" cy="4119354"/>
          </a:xfrm>
          <a:prstGeom prst="rect">
            <a:avLst/>
          </a:prstGeom>
          <a:solidFill>
            <a:schemeClr val="accent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014869" y="2574091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4000" kern="1200" dirty="0">
                <a:solidFill>
                  <a:schemeClr val="bg1"/>
                </a:solidFill>
                <a:latin typeface="Knockout 30 Junior Welterwt" pitchFamily="50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21605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pu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>
          <a:xfrm>
            <a:off x="199818" y="1489144"/>
            <a:ext cx="11615500" cy="15112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186109"/>
            <a:ext cx="12192000" cy="3200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5036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Headin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3" y="1199638"/>
            <a:ext cx="12192000" cy="521208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83718" y="202370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4000" kern="1200" dirty="0">
                <a:solidFill>
                  <a:srgbClr val="7499C6"/>
                </a:solidFill>
                <a:latin typeface="Knockout 30 Junior Welterwt" pitchFamily="50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11326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90330" y="1573834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6494569" y="1573834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91867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428970" y="1495633"/>
            <a:ext cx="5157787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28970" y="2319545"/>
            <a:ext cx="5157787" cy="36845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96270" y="1495633"/>
            <a:ext cx="5183188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6596270" y="2319545"/>
            <a:ext cx="5183188" cy="36845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38620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00321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0" y="268845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02635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-2" y="1602925"/>
            <a:ext cx="5792593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792592" y="1602925"/>
            <a:ext cx="6400800" cy="4572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191930" y="1822891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804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4696" y="1528451"/>
            <a:ext cx="11516730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170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6406952" y="1602925"/>
            <a:ext cx="5779277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6606623" y="1851472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52" y="1602925"/>
            <a:ext cx="6400800" cy="4572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013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Headin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1199638"/>
            <a:ext cx="12192000" cy="521208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83702" y="202366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4000" kern="1200" dirty="0">
                <a:solidFill>
                  <a:srgbClr val="7499C6"/>
                </a:solidFill>
                <a:latin typeface="Knockout 30 Junior Welterwt" pitchFamily="50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828699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4008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2239617" y="1147979"/>
            <a:ext cx="7712766" cy="4119354"/>
          </a:xfrm>
          <a:prstGeom prst="rect">
            <a:avLst/>
          </a:prstGeom>
          <a:solidFill>
            <a:schemeClr val="accent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014869" y="2574091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4000" kern="1200" dirty="0">
                <a:solidFill>
                  <a:schemeClr val="bg1"/>
                </a:solidFill>
                <a:latin typeface="Knockout 30 Junior Welterwt" pitchFamily="50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636340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pu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>
          <a:xfrm>
            <a:off x="199818" y="1489144"/>
            <a:ext cx="11615500" cy="15112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186109"/>
            <a:ext cx="12192000" cy="3200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9851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3" y="0"/>
            <a:ext cx="12192000" cy="64008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2239632" y="1147979"/>
            <a:ext cx="7712767" cy="4119354"/>
          </a:xfrm>
          <a:prstGeom prst="rect">
            <a:avLst/>
          </a:prstGeom>
          <a:solidFill>
            <a:schemeClr val="accent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014885" y="2574096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4000" kern="1200" dirty="0">
                <a:solidFill>
                  <a:schemeClr val="bg1"/>
                </a:solidFill>
                <a:latin typeface="Knockout 30 Junior Welterwt" pitchFamily="50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33871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90330" y="1573834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6494569" y="1573834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65089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428970" y="1495633"/>
            <a:ext cx="5157787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28970" y="2319545"/>
            <a:ext cx="5157787" cy="36845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96270" y="1495633"/>
            <a:ext cx="5183188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6596270" y="2319545"/>
            <a:ext cx="5183188" cy="36845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81686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49854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0" y="268845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38220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-2" y="1602925"/>
            <a:ext cx="5792593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792592" y="1602925"/>
            <a:ext cx="6400800" cy="4572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191930" y="1822891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408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4696" y="1528451"/>
            <a:ext cx="11516730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087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6406952" y="1602925"/>
            <a:ext cx="5779277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6606623" y="1851472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52" y="1602925"/>
            <a:ext cx="6400800" cy="4572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714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Headin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1199638"/>
            <a:ext cx="12192000" cy="521208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83702" y="202366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4000" kern="1200" dirty="0">
                <a:solidFill>
                  <a:srgbClr val="7499C6"/>
                </a:solidFill>
                <a:latin typeface="Knockout 30 Junior Welterwt" pitchFamily="50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0757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4008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2239617" y="1147979"/>
            <a:ext cx="7712766" cy="4119354"/>
          </a:xfrm>
          <a:prstGeom prst="rect">
            <a:avLst/>
          </a:prstGeom>
          <a:solidFill>
            <a:schemeClr val="accent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014869" y="2574091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4000" kern="1200" dirty="0">
                <a:solidFill>
                  <a:schemeClr val="bg1"/>
                </a:solidFill>
                <a:latin typeface="Knockout 30 Junior Welterwt" pitchFamily="50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85917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pu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>
          <a:xfrm>
            <a:off x="199818" y="1489144"/>
            <a:ext cx="11615500" cy="15112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186109"/>
            <a:ext cx="12192000" cy="3200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73334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pu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>
          <a:xfrm>
            <a:off x="199822" y="1489148"/>
            <a:ext cx="11615500" cy="15112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" y="3186109"/>
            <a:ext cx="12192000" cy="3200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45862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90330" y="1573834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6494569" y="1573834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807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428970" y="1495633"/>
            <a:ext cx="5157787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28970" y="2319545"/>
            <a:ext cx="5157787" cy="36845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96270" y="1495633"/>
            <a:ext cx="5183188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6596270" y="2319545"/>
            <a:ext cx="5183188" cy="368458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8771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32746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0" y="268845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643674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-2" y="1602925"/>
            <a:ext cx="5792593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792592" y="1602925"/>
            <a:ext cx="6400800" cy="4572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191930" y="1822891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960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>
            <a:lvl1pPr>
              <a:defRPr sz="3200"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4696" y="1528451"/>
            <a:ext cx="11516730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>
                <a:latin typeface="Calibri" panose="020F0502020204030204" pitchFamily="34" charset="0"/>
              </a:defRPr>
            </a:lvl1pPr>
            <a:lvl2pPr>
              <a:defRPr sz="2400">
                <a:latin typeface="Calibri" panose="020F0502020204030204" pitchFamily="34" charset="0"/>
              </a:defRPr>
            </a:lvl2pPr>
            <a:lvl3pPr>
              <a:defRPr sz="2400">
                <a:latin typeface="Calibri" panose="020F0502020204030204" pitchFamily="34" charset="0"/>
              </a:defRPr>
            </a:lvl3pPr>
            <a:lvl4pPr>
              <a:defRPr sz="2400">
                <a:latin typeface="Calibri" panose="020F0502020204030204" pitchFamily="34" charset="0"/>
              </a:defRPr>
            </a:lvl4pPr>
            <a:lvl5pPr>
              <a:defRPr sz="24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028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icture &amp; 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6406952" y="1602925"/>
            <a:ext cx="5779277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6606623" y="1851472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152" y="1602925"/>
            <a:ext cx="6400800" cy="4572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705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2239617" y="1147979"/>
            <a:ext cx="7712766" cy="4119354"/>
          </a:xfrm>
          <a:prstGeom prst="rect">
            <a:avLst/>
          </a:prstGeom>
          <a:solidFill>
            <a:schemeClr val="accent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014869" y="2574091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360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365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90330" y="1573834"/>
            <a:ext cx="5181600" cy="435133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6494569" y="1573834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7911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428970" y="1495633"/>
            <a:ext cx="5157787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28970" y="2319545"/>
            <a:ext cx="5157787" cy="3684588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96270" y="1495633"/>
            <a:ext cx="5183188" cy="82391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6596270" y="2319545"/>
            <a:ext cx="5183188" cy="3684588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91654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 lang="en-US" smtClean="0"/>
              <a:pPr algn="ctr"/>
              <a:t>‹#›</a:t>
            </a:fld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90343" y="1573835"/>
            <a:ext cx="5181601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6494581" y="1573835"/>
            <a:ext cx="5181601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196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with Picture &amp; 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-2" y="1602925"/>
            <a:ext cx="5792593" cy="4571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792592" y="1602925"/>
            <a:ext cx="6400800" cy="4572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191930" y="1822891"/>
            <a:ext cx="5208695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2843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ing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4696" y="1528451"/>
            <a:ext cx="11516730" cy="3846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267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with Picture &amp; Headin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1199638"/>
            <a:ext cx="12192000" cy="5658362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83702" y="202366"/>
            <a:ext cx="6162261" cy="8233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3600" kern="1200" dirty="0">
                <a:solidFill>
                  <a:srgbClr val="7499C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2610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mpu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 hasCustomPrompt="1"/>
          </p:nvPr>
        </p:nvSpPr>
        <p:spPr>
          <a:xfrm>
            <a:off x="199818" y="1489144"/>
            <a:ext cx="11615500" cy="15112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186109"/>
            <a:ext cx="12192000" cy="3200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67892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Gray">
    <p:bg>
      <p:bgPr>
        <a:solidFill>
          <a:srgbClr val="DDDE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4025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ay">
    <p:bg>
      <p:bgPr>
        <a:solidFill>
          <a:srgbClr val="8184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3978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">
    <p:bg>
      <p:bgPr>
        <a:solidFill>
          <a:srgbClr val="778A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tx2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0076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">
    <p:bg>
      <p:bgPr>
        <a:solidFill>
          <a:srgbClr val="23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12180"/>
            <a:ext cx="10972801" cy="464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6700" b="1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1"/>
                </a:solidFill>
              </a:defRPr>
            </a:lvl2pPr>
            <a:lvl3pPr>
              <a:defRPr sz="6000">
                <a:solidFill>
                  <a:schemeClr val="bg1"/>
                </a:solidFill>
              </a:defRPr>
            </a:lvl3pPr>
            <a:lvl4pPr>
              <a:defRPr sz="6000">
                <a:solidFill>
                  <a:schemeClr val="bg1"/>
                </a:solidFill>
              </a:defRPr>
            </a:lvl4pPr>
            <a:lvl5pPr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7581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1" y="0"/>
            <a:ext cx="12192000" cy="6858000"/>
            <a:chOff x="0" y="0"/>
            <a:chExt cx="12188825" cy="6858000"/>
          </a:xfrm>
        </p:grpSpPr>
        <p:pic>
          <p:nvPicPr>
            <p:cNvPr id="2050" name="Picture 2" descr="C:\Users\schen\Desktop\RGSE_PPTSlides.jp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1" name="Picture 3" descr="C:\Users\schen\Desktop\RGSE_PPTSlides.jpg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315" r="20817"/>
            <a:stretch/>
          </p:blipFill>
          <p:spPr bwMode="auto">
            <a:xfrm>
              <a:off x="8909050" y="0"/>
              <a:ext cx="3279775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Rectangle 6"/>
          <p:cNvSpPr/>
          <p:nvPr userDrawn="1"/>
        </p:nvSpPr>
        <p:spPr>
          <a:xfrm>
            <a:off x="619010" y="421286"/>
            <a:ext cx="10926833" cy="595579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262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620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84.xml"/><Relationship Id="rId21" Type="http://schemas.openxmlformats.org/officeDocument/2006/relationships/oleObject" Target="../embeddings/oleObject5.bin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8.xml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91.xml"/><Relationship Id="rId19" Type="http://schemas.openxmlformats.org/officeDocument/2006/relationships/vmlDrawing" Target="../drawings/vmlDrawing5.v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Relationship Id="rId22" Type="http://schemas.openxmlformats.org/officeDocument/2006/relationships/image" Target="../media/image1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01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vmlDrawing" Target="../drawings/vmlDrawing6.v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8.xml"/><Relationship Id="rId19" Type="http://schemas.openxmlformats.org/officeDocument/2006/relationships/theme" Target="../theme/theme11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oleObject" Target="../embeddings/oleObject6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theme" Target="../theme/theme12.xml"/><Relationship Id="rId3" Type="http://schemas.openxmlformats.org/officeDocument/2006/relationships/slideLayout" Target="../slideLayouts/slideLayout119.xml"/><Relationship Id="rId21" Type="http://schemas.openxmlformats.org/officeDocument/2006/relationships/oleObject" Target="../embeddings/oleObject7.bin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26.xml"/><Relationship Id="rId19" Type="http://schemas.openxmlformats.org/officeDocument/2006/relationships/vmlDrawing" Target="../drawings/vmlDrawing7.v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image" Target="../media/image1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13" Type="http://schemas.openxmlformats.org/officeDocument/2006/relationships/slideLayout" Target="../slideLayouts/slideLayout146.xml"/><Relationship Id="rId18" Type="http://schemas.openxmlformats.org/officeDocument/2006/relationships/theme" Target="../theme/theme13.xml"/><Relationship Id="rId3" Type="http://schemas.openxmlformats.org/officeDocument/2006/relationships/slideLayout" Target="../slideLayouts/slideLayout136.xml"/><Relationship Id="rId21" Type="http://schemas.openxmlformats.org/officeDocument/2006/relationships/oleObject" Target="../embeddings/oleObject8.bin"/><Relationship Id="rId7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5.xml"/><Relationship Id="rId17" Type="http://schemas.openxmlformats.org/officeDocument/2006/relationships/slideLayout" Target="../slideLayouts/slideLayout150.xml"/><Relationship Id="rId2" Type="http://schemas.openxmlformats.org/officeDocument/2006/relationships/slideLayout" Target="../slideLayouts/slideLayout135.xml"/><Relationship Id="rId16" Type="http://schemas.openxmlformats.org/officeDocument/2006/relationships/slideLayout" Target="../slideLayouts/slideLayout149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5" Type="http://schemas.openxmlformats.org/officeDocument/2006/relationships/slideLayout" Target="../slideLayouts/slideLayout138.xml"/><Relationship Id="rId15" Type="http://schemas.openxmlformats.org/officeDocument/2006/relationships/slideLayout" Target="../slideLayouts/slideLayout148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43.xml"/><Relationship Id="rId19" Type="http://schemas.openxmlformats.org/officeDocument/2006/relationships/vmlDrawing" Target="../drawings/vmlDrawing8.v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slideLayout" Target="../slideLayouts/slideLayout147.xml"/><Relationship Id="rId22" Type="http://schemas.openxmlformats.org/officeDocument/2006/relationships/image" Target="../media/image1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.xml"/><Relationship Id="rId13" Type="http://schemas.openxmlformats.org/officeDocument/2006/relationships/slideLayout" Target="../slideLayouts/slideLayout163.xml"/><Relationship Id="rId18" Type="http://schemas.openxmlformats.org/officeDocument/2006/relationships/theme" Target="../theme/theme14.xml"/><Relationship Id="rId3" Type="http://schemas.openxmlformats.org/officeDocument/2006/relationships/slideLayout" Target="../slideLayouts/slideLayout153.xml"/><Relationship Id="rId21" Type="http://schemas.openxmlformats.org/officeDocument/2006/relationships/oleObject" Target="../embeddings/oleObject9.bin"/><Relationship Id="rId7" Type="http://schemas.openxmlformats.org/officeDocument/2006/relationships/slideLayout" Target="../slideLayouts/slideLayout157.xml"/><Relationship Id="rId12" Type="http://schemas.openxmlformats.org/officeDocument/2006/relationships/slideLayout" Target="../slideLayouts/slideLayout162.xml"/><Relationship Id="rId17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52.xml"/><Relationship Id="rId16" Type="http://schemas.openxmlformats.org/officeDocument/2006/relationships/slideLayout" Target="../slideLayouts/slideLayout166.xml"/><Relationship Id="rId20" Type="http://schemas.openxmlformats.org/officeDocument/2006/relationships/tags" Target="../tags/tag9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slideLayout" Target="../slideLayouts/slideLayout161.xml"/><Relationship Id="rId5" Type="http://schemas.openxmlformats.org/officeDocument/2006/relationships/slideLayout" Target="../slideLayouts/slideLayout155.xml"/><Relationship Id="rId15" Type="http://schemas.openxmlformats.org/officeDocument/2006/relationships/slideLayout" Target="../slideLayouts/slideLayout16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60.xml"/><Relationship Id="rId19" Type="http://schemas.openxmlformats.org/officeDocument/2006/relationships/vmlDrawing" Target="../drawings/vmlDrawing9.v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Relationship Id="rId14" Type="http://schemas.openxmlformats.org/officeDocument/2006/relationships/slideLayout" Target="../slideLayouts/slideLayout164.xml"/><Relationship Id="rId22" Type="http://schemas.openxmlformats.org/officeDocument/2006/relationships/image" Target="../media/image1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tags" Target="../tags/tag10.xml"/><Relationship Id="rId3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74.xml"/><Relationship Id="rId12" Type="http://schemas.openxmlformats.org/officeDocument/2006/relationships/vmlDrawing" Target="../drawings/vmlDrawing10.vml"/><Relationship Id="rId2" Type="http://schemas.openxmlformats.org/officeDocument/2006/relationships/slideLayout" Target="../slideLayouts/slideLayout169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theme" Target="../theme/theme15.xml"/><Relationship Id="rId5" Type="http://schemas.openxmlformats.org/officeDocument/2006/relationships/slideLayout" Target="../slideLayouts/slideLayout172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oleObject" Target="../embeddings/oleObject10.bin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tags" Target="../tags/tag11.xml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vmlDrawing" Target="../drawings/vmlDrawing11.vml"/><Relationship Id="rId2" Type="http://schemas.openxmlformats.org/officeDocument/2006/relationships/slideLayout" Target="../slideLayouts/slideLayout179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theme" Target="../theme/theme16.xml"/><Relationship Id="rId5" Type="http://schemas.openxmlformats.org/officeDocument/2006/relationships/slideLayout" Target="../slideLayouts/slideLayout182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oleObject" Target="../embeddings/oleObject11.bin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94.xml"/><Relationship Id="rId12" Type="http://schemas.openxmlformats.org/officeDocument/2006/relationships/vmlDrawing" Target="../drawings/vmlDrawing12.vml"/><Relationship Id="rId2" Type="http://schemas.openxmlformats.org/officeDocument/2006/relationships/slideLayout" Target="../slideLayouts/slideLayout189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192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Relationship Id="rId14" Type="http://schemas.openxmlformats.org/officeDocument/2006/relationships/oleObject" Target="../embeddings/oleObject1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5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vmlDrawing" Target="../drawings/vmlDrawing2.vml"/><Relationship Id="rId2" Type="http://schemas.openxmlformats.org/officeDocument/2006/relationships/slideLayout" Target="../slideLayouts/slideLayout5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5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oleObject" Target="../embeddings/oleObject2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vmlDrawing" Target="../drawings/vmlDrawing3.vml"/><Relationship Id="rId2" Type="http://schemas.openxmlformats.org/officeDocument/2006/relationships/slideLayout" Target="../slideLayouts/slideLayout6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6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oleObject" Target="../embeddings/oleObject3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7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7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064539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6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" y="316315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1688" y="156058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688" y="6544461"/>
            <a:ext cx="1323306" cy="19518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4844653" y="6541601"/>
            <a:ext cx="249940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chemeClr val="accent5"/>
                </a:solidFill>
                <a:latin typeface="Knockout 30 Junior Welterwt" pitchFamily="50" charset="0"/>
                <a:cs typeface="Helvetica"/>
              </a:rPr>
              <a:t>© </a:t>
            </a:r>
            <a:r>
              <a:rPr lang="en-US" sz="800" dirty="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rPr>
              <a:t>2015 </a:t>
            </a:r>
            <a:r>
              <a:rPr lang="en-US" sz="800" dirty="0">
                <a:solidFill>
                  <a:schemeClr val="accent5"/>
                </a:solidFill>
                <a:latin typeface="Knockout 30 Junior Welterwt" pitchFamily="50" charset="0"/>
                <a:cs typeface="Helvetica"/>
              </a:rPr>
              <a:t>Relay Graduate School of Education. All rights reserved.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2034" y="6509699"/>
            <a:ext cx="346570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778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5" r:id="rId3"/>
    <p:sldLayoutId id="2147483659" r:id="rId4"/>
    <p:sldLayoutId id="2147483657" r:id="rId5"/>
    <p:sldLayoutId id="2147483656" r:id="rId6"/>
    <p:sldLayoutId id="2147483660" r:id="rId7"/>
    <p:sldLayoutId id="2147483661" r:id="rId8"/>
    <p:sldLayoutId id="2147483662" r:id="rId9"/>
    <p:sldLayoutId id="2147483663" r:id="rId10"/>
    <p:sldLayoutId id="2147483665" r:id="rId11"/>
    <p:sldLayoutId id="2147483667" r:id="rId12"/>
    <p:sldLayoutId id="2147483668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8092902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2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1688" y="156058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688" y="6544461"/>
            <a:ext cx="1323306" cy="195188"/>
          </a:xfrm>
          <a:prstGeom prst="rect">
            <a:avLst/>
          </a:prstGeom>
        </p:spPr>
      </p:pic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664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1" r:id="rId1"/>
    <p:sldLayoutId id="2147484102" r:id="rId2"/>
    <p:sldLayoutId id="2147484103" r:id="rId3"/>
    <p:sldLayoutId id="2147484104" r:id="rId4"/>
    <p:sldLayoutId id="2147484105" r:id="rId5"/>
    <p:sldLayoutId id="2147484106" r:id="rId6"/>
    <p:sldLayoutId id="2147484107" r:id="rId7"/>
    <p:sldLayoutId id="2147484108" r:id="rId8"/>
    <p:sldLayoutId id="2147484109" r:id="rId9"/>
    <p:sldLayoutId id="2147484110" r:id="rId10"/>
    <p:sldLayoutId id="2147484111" r:id="rId11"/>
    <p:sldLayoutId id="2147484112" r:id="rId12"/>
    <p:sldLayoutId id="2147484113" r:id="rId13"/>
    <p:sldLayoutId id="2147484114" r:id="rId14"/>
    <p:sldLayoutId id="2147484115" r:id="rId15"/>
    <p:sldLayoutId id="2147484116" r:id="rId16"/>
    <p:sldLayoutId id="2147484117" r:id="rId1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437624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6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1688" y="156058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688" y="6544461"/>
            <a:ext cx="1323306" cy="195188"/>
          </a:xfrm>
          <a:prstGeom prst="rect">
            <a:avLst/>
          </a:prstGeom>
        </p:spPr>
      </p:pic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0031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  <p:sldLayoutId id="2147484122" r:id="rId4"/>
    <p:sldLayoutId id="2147484123" r:id="rId5"/>
    <p:sldLayoutId id="2147484124" r:id="rId6"/>
    <p:sldLayoutId id="2147484125" r:id="rId7"/>
    <p:sldLayoutId id="2147484126" r:id="rId8"/>
    <p:sldLayoutId id="2147484127" r:id="rId9"/>
    <p:sldLayoutId id="2147484128" r:id="rId10"/>
    <p:sldLayoutId id="2147484129" r:id="rId11"/>
    <p:sldLayoutId id="2147484130" r:id="rId12"/>
    <p:sldLayoutId id="2147484131" r:id="rId13"/>
    <p:sldLayoutId id="2147484132" r:id="rId14"/>
    <p:sldLayoutId id="2147484133" r:id="rId15"/>
    <p:sldLayoutId id="2147484134" r:id="rId16"/>
    <p:sldLayoutId id="2147484135" r:id="rId17"/>
    <p:sldLayoutId id="2147484190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1819162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0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1688" y="156058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688" y="6544461"/>
            <a:ext cx="1323306" cy="195188"/>
          </a:xfrm>
          <a:prstGeom prst="rect">
            <a:avLst/>
          </a:prstGeom>
        </p:spPr>
      </p:pic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9610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  <p:sldLayoutId id="2147484140" r:id="rId4"/>
    <p:sldLayoutId id="2147484141" r:id="rId5"/>
    <p:sldLayoutId id="2147484142" r:id="rId6"/>
    <p:sldLayoutId id="2147484143" r:id="rId7"/>
    <p:sldLayoutId id="2147484144" r:id="rId8"/>
    <p:sldLayoutId id="2147484145" r:id="rId9"/>
    <p:sldLayoutId id="2147484146" r:id="rId10"/>
    <p:sldLayoutId id="2147484147" r:id="rId11"/>
    <p:sldLayoutId id="2147484148" r:id="rId12"/>
    <p:sldLayoutId id="2147484149" r:id="rId13"/>
    <p:sldLayoutId id="2147484150" r:id="rId14"/>
    <p:sldLayoutId id="2147484151" r:id="rId15"/>
    <p:sldLayoutId id="2147484152" r:id="rId16"/>
    <p:sldLayoutId id="2147484153" r:id="rId1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09231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4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1688" y="156058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688" y="6544461"/>
            <a:ext cx="1323306" cy="195188"/>
          </a:xfrm>
          <a:prstGeom prst="rect">
            <a:avLst/>
          </a:prstGeom>
        </p:spPr>
      </p:pic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009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5" r:id="rId1"/>
    <p:sldLayoutId id="2147484156" r:id="rId2"/>
    <p:sldLayoutId id="2147484157" r:id="rId3"/>
    <p:sldLayoutId id="2147484158" r:id="rId4"/>
    <p:sldLayoutId id="2147484159" r:id="rId5"/>
    <p:sldLayoutId id="2147484160" r:id="rId6"/>
    <p:sldLayoutId id="2147484161" r:id="rId7"/>
    <p:sldLayoutId id="2147484162" r:id="rId8"/>
    <p:sldLayoutId id="2147484163" r:id="rId9"/>
    <p:sldLayoutId id="2147484164" r:id="rId10"/>
    <p:sldLayoutId id="2147484165" r:id="rId11"/>
    <p:sldLayoutId id="2147484166" r:id="rId12"/>
    <p:sldLayoutId id="2147484167" r:id="rId13"/>
    <p:sldLayoutId id="2147484168" r:id="rId14"/>
    <p:sldLayoutId id="2147484169" r:id="rId15"/>
    <p:sldLayoutId id="2147484170" r:id="rId16"/>
    <p:sldLayoutId id="2147484171" r:id="rId1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536484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5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1688" y="156058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688" y="6544461"/>
            <a:ext cx="1323306" cy="195188"/>
          </a:xfrm>
          <a:prstGeom prst="rect">
            <a:avLst/>
          </a:prstGeom>
        </p:spPr>
      </p:pic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746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3" r:id="rId1"/>
    <p:sldLayoutId id="2147484174" r:id="rId2"/>
    <p:sldLayoutId id="2147484175" r:id="rId3"/>
    <p:sldLayoutId id="2147484176" r:id="rId4"/>
    <p:sldLayoutId id="2147484177" r:id="rId5"/>
    <p:sldLayoutId id="2147484178" r:id="rId6"/>
    <p:sldLayoutId id="2147484179" r:id="rId7"/>
    <p:sldLayoutId id="2147484180" r:id="rId8"/>
    <p:sldLayoutId id="2147484181" r:id="rId9"/>
    <p:sldLayoutId id="2147484182" r:id="rId10"/>
    <p:sldLayoutId id="2147484183" r:id="rId11"/>
    <p:sldLayoutId id="2147484184" r:id="rId12"/>
    <p:sldLayoutId id="2147484185" r:id="rId13"/>
    <p:sldLayoutId id="2147484186" r:id="rId14"/>
    <p:sldLayoutId id="2147484187" r:id="rId15"/>
    <p:sldLayoutId id="2147484188" r:id="rId16"/>
    <p:sldLayoutId id="2147484189" r:id="rId1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1688" y="156058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688" y="6544461"/>
            <a:ext cx="1323306" cy="195188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4844653" y="6541601"/>
            <a:ext cx="249940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81848A"/>
                </a:solidFill>
                <a:cs typeface="Helvetica"/>
              </a:rPr>
              <a:t>© </a:t>
            </a:r>
            <a:r>
              <a:rPr lang="en-US" sz="800" dirty="0" smtClean="0">
                <a:solidFill>
                  <a:srgbClr val="81848A"/>
                </a:solidFill>
                <a:cs typeface="Helvetica"/>
              </a:rPr>
              <a:t>2015 </a:t>
            </a:r>
            <a:r>
              <a:rPr lang="en-US" sz="800" dirty="0">
                <a:solidFill>
                  <a:srgbClr val="81848A"/>
                </a:solidFill>
                <a:cs typeface="Helvetica"/>
              </a:rPr>
              <a:t>Relay Graduate School of Education. All rights reserved.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861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2" r:id="rId1"/>
    <p:sldLayoutId id="2147484193" r:id="rId2"/>
    <p:sldLayoutId id="2147484194" r:id="rId3"/>
    <p:sldLayoutId id="2147484195" r:id="rId4"/>
    <p:sldLayoutId id="2147484196" r:id="rId5"/>
    <p:sldLayoutId id="2147484197" r:id="rId6"/>
    <p:sldLayoutId id="2147484198" r:id="rId7"/>
    <p:sldLayoutId id="2147484199" r:id="rId8"/>
    <p:sldLayoutId id="2147484200" r:id="rId9"/>
    <p:sldLayoutId id="2147484201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1688" y="156058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688" y="6544461"/>
            <a:ext cx="1323306" cy="19518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4844653" y="6541601"/>
            <a:ext cx="249940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81848A"/>
                </a:solidFill>
                <a:cs typeface="Helvetica"/>
              </a:rPr>
              <a:t>© </a:t>
            </a:r>
            <a:r>
              <a:rPr lang="en-US" sz="800" dirty="0" smtClean="0">
                <a:solidFill>
                  <a:srgbClr val="81848A"/>
                </a:solidFill>
                <a:cs typeface="Helvetica"/>
              </a:rPr>
              <a:t>2015 </a:t>
            </a:r>
            <a:r>
              <a:rPr lang="en-US" sz="800" dirty="0">
                <a:solidFill>
                  <a:srgbClr val="81848A"/>
                </a:solidFill>
                <a:cs typeface="Helvetica"/>
              </a:rPr>
              <a:t>Relay Graduate School of Education. All rights reserved.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594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3" r:id="rId1"/>
    <p:sldLayoutId id="2147484204" r:id="rId2"/>
    <p:sldLayoutId id="2147484205" r:id="rId3"/>
    <p:sldLayoutId id="2147484206" r:id="rId4"/>
    <p:sldLayoutId id="2147484207" r:id="rId5"/>
    <p:sldLayoutId id="2147484208" r:id="rId6"/>
    <p:sldLayoutId id="2147484209" r:id="rId7"/>
    <p:sldLayoutId id="2147484210" r:id="rId8"/>
    <p:sldLayoutId id="2147484211" r:id="rId9"/>
    <p:sldLayoutId id="2147484212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1688" y="156058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688" y="6544461"/>
            <a:ext cx="1323306" cy="195188"/>
          </a:xfrm>
          <a:prstGeom prst="rect">
            <a:avLst/>
          </a:prstGeom>
        </p:spPr>
      </p:pic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78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4" r:id="rId1"/>
    <p:sldLayoutId id="2147484215" r:id="rId2"/>
    <p:sldLayoutId id="2147484216" r:id="rId3"/>
    <p:sldLayoutId id="2147484217" r:id="rId4"/>
    <p:sldLayoutId id="2147484218" r:id="rId5"/>
    <p:sldLayoutId id="2147484219" r:id="rId6"/>
    <p:sldLayoutId id="2147484220" r:id="rId7"/>
    <p:sldLayoutId id="2147484221" r:id="rId8"/>
    <p:sldLayoutId id="2147484222" r:id="rId9"/>
    <p:sldLayoutId id="2147484223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4140" y="1234529"/>
            <a:ext cx="11358885" cy="4816774"/>
          </a:xfrm>
          <a:prstGeom prst="rect">
            <a:avLst/>
          </a:prstGeom>
        </p:spPr>
        <p:txBody>
          <a:bodyPr vert="horz" lIns="98084" tIns="49042" rIns="98084" bIns="4904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3" y="15"/>
            <a:ext cx="12192000" cy="1074755"/>
          </a:xfrm>
          <a:prstGeom prst="rect">
            <a:avLst/>
          </a:prstGeom>
          <a:solidFill>
            <a:srgbClr val="234B8D"/>
          </a:solidFill>
        </p:spPr>
        <p:txBody>
          <a:bodyPr wrap="none" lIns="392336" tIns="49042" rIns="686591" bIns="49042" anchor="ctr">
            <a:normAutofit/>
          </a:bodyPr>
          <a:lstStyle/>
          <a:p>
            <a:pPr defTabSz="490421">
              <a:spcBef>
                <a:spcPct val="0"/>
              </a:spcBef>
              <a:defRPr/>
            </a:pPr>
            <a:r>
              <a:rPr lang="en-US" sz="3900" b="1" dirty="0" smtClean="0">
                <a:solidFill>
                  <a:srgbClr val="FFFFFF"/>
                </a:solidFill>
                <a:ea typeface="ＭＳ Ｐゴシック" pitchFamily="-109" charset="-128"/>
              </a:rPr>
              <a:t>  </a:t>
            </a:r>
            <a:endParaRPr lang="en-US" sz="3900" b="1" dirty="0">
              <a:solidFill>
                <a:srgbClr val="FFFFFF"/>
              </a:solidFill>
              <a:ea typeface="ＭＳ Ｐゴシック" pitchFamily="-109" charset="-128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191001" y="704851"/>
            <a:ext cx="198148" cy="406818"/>
          </a:xfrm>
          <a:prstGeom prst="rect">
            <a:avLst/>
          </a:prstGeom>
          <a:noFill/>
        </p:spPr>
        <p:txBody>
          <a:bodyPr wrap="none" lIns="98084" tIns="49042" rIns="98084" bIns="490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2951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</p:sldLayoutIdLst>
  <p:timing>
    <p:tnLst>
      <p:par>
        <p:cTn id="1" dur="indefinite" restart="never" nodeType="tmRoot"/>
      </p:par>
    </p:tnLst>
  </p:timing>
  <p:txStyles>
    <p:titleStyle>
      <a:lvl1pPr algn="l" defTabSz="490421" rtl="0" eaLnBrk="1" latinLnBrk="0" hangingPunct="1">
        <a:spcBef>
          <a:spcPct val="0"/>
        </a:spcBef>
        <a:buNone/>
        <a:defRPr sz="39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67815" indent="-367815" algn="l" defTabSz="490421" rtl="0" eaLnBrk="1" latinLnBrk="0" hangingPunct="1">
        <a:spcBef>
          <a:spcPct val="20000"/>
        </a:spcBef>
        <a:buClrTx/>
        <a:buFont typeface="Arial"/>
        <a:buNone/>
        <a:defRPr lang="en-US" sz="2600" kern="1200" cap="small" baseline="0" dirty="0" smtClean="0">
          <a:solidFill>
            <a:srgbClr val="000000"/>
          </a:solidFill>
          <a:latin typeface="+mj-lt"/>
          <a:ea typeface="+mn-ea"/>
          <a:cs typeface="Helvetica"/>
        </a:defRPr>
      </a:lvl1pPr>
      <a:lvl2pPr marL="796934" indent="-306514" algn="l" defTabSz="490421" rtl="0" eaLnBrk="1" latinLnBrk="0" hangingPunct="1">
        <a:spcBef>
          <a:spcPct val="20000"/>
        </a:spcBef>
        <a:buClrTx/>
        <a:buFont typeface="Arial"/>
        <a:buChar char="•"/>
        <a:defRPr lang="en-US" sz="2400" kern="1200" dirty="0" smtClean="0">
          <a:solidFill>
            <a:srgbClr val="000000"/>
          </a:solidFill>
          <a:latin typeface="+mj-lt"/>
          <a:ea typeface="+mn-ea"/>
          <a:cs typeface="Helvetica"/>
        </a:defRPr>
      </a:lvl2pPr>
      <a:lvl3pPr marL="1226052" indent="-245210" algn="l" defTabSz="490421" rtl="0" eaLnBrk="1" latinLnBrk="0" hangingPunct="1">
        <a:spcBef>
          <a:spcPct val="20000"/>
        </a:spcBef>
        <a:buClrTx/>
        <a:buFont typeface="Arial"/>
        <a:buChar char="•"/>
        <a:defRPr lang="en-US" sz="2100" kern="1200" dirty="0" smtClean="0">
          <a:solidFill>
            <a:srgbClr val="000000"/>
          </a:solidFill>
          <a:latin typeface="+mj-lt"/>
          <a:ea typeface="+mn-ea"/>
          <a:cs typeface="Helvetica"/>
        </a:defRPr>
      </a:lvl3pPr>
      <a:lvl4pPr marL="1716472" indent="-245210" algn="l" defTabSz="490421" rtl="0" eaLnBrk="1" latinLnBrk="0" hangingPunct="1">
        <a:spcBef>
          <a:spcPct val="20000"/>
        </a:spcBef>
        <a:buClrTx/>
        <a:buFont typeface="Arial"/>
        <a:buChar char="•"/>
        <a:defRPr lang="en-US" sz="1900" kern="1200" dirty="0" smtClean="0">
          <a:solidFill>
            <a:srgbClr val="000000"/>
          </a:solidFill>
          <a:latin typeface="+mj-lt"/>
          <a:ea typeface="+mn-ea"/>
          <a:cs typeface="Helvetica"/>
        </a:defRPr>
      </a:lvl4pPr>
      <a:lvl5pPr marL="2206893" indent="-245210" algn="l" defTabSz="490421" rtl="0" eaLnBrk="1" latinLnBrk="0" hangingPunct="1">
        <a:spcBef>
          <a:spcPct val="20000"/>
        </a:spcBef>
        <a:buClrTx/>
        <a:buFont typeface="Arial"/>
        <a:buChar char="•"/>
        <a:defRPr lang="en-US" sz="1700" kern="1200" dirty="0">
          <a:solidFill>
            <a:srgbClr val="000000"/>
          </a:solidFill>
          <a:latin typeface="+mj-lt"/>
          <a:ea typeface="+mn-ea"/>
          <a:cs typeface="Helvetica"/>
        </a:defRPr>
      </a:lvl5pPr>
      <a:lvl6pPr marL="2697314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7734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8155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8576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0421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0840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1262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1682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2105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2524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2945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3365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4139" y="1234529"/>
            <a:ext cx="11358885" cy="4816774"/>
          </a:xfrm>
          <a:prstGeom prst="rect">
            <a:avLst/>
          </a:prstGeom>
        </p:spPr>
        <p:txBody>
          <a:bodyPr vert="horz" lIns="98084" tIns="49042" rIns="98084" bIns="4904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3" y="14"/>
            <a:ext cx="12192000" cy="1074755"/>
          </a:xfrm>
          <a:prstGeom prst="rect">
            <a:avLst/>
          </a:prstGeom>
          <a:solidFill>
            <a:srgbClr val="234B8D"/>
          </a:solidFill>
        </p:spPr>
        <p:txBody>
          <a:bodyPr wrap="none" lIns="392336" tIns="49042" rIns="686591" bIns="49042" anchor="ctr">
            <a:normAutofit/>
          </a:bodyPr>
          <a:lstStyle/>
          <a:p>
            <a:pPr defTabSz="490421">
              <a:spcBef>
                <a:spcPct val="0"/>
              </a:spcBef>
              <a:defRPr/>
            </a:pPr>
            <a:r>
              <a:rPr lang="en-US" sz="3900" b="1" dirty="0" smtClean="0">
                <a:solidFill>
                  <a:srgbClr val="FFFFFF"/>
                </a:solidFill>
                <a:ea typeface="ＭＳ Ｐゴシック" pitchFamily="-109" charset="-128"/>
              </a:rPr>
              <a:t>  </a:t>
            </a:r>
            <a:endParaRPr lang="en-US" sz="3900" b="1" dirty="0">
              <a:solidFill>
                <a:srgbClr val="FFFFFF"/>
              </a:solidFill>
              <a:ea typeface="ＭＳ Ｐゴシック" pitchFamily="-109" charset="-128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191001" y="704851"/>
            <a:ext cx="198148" cy="406818"/>
          </a:xfrm>
          <a:prstGeom prst="rect">
            <a:avLst/>
          </a:prstGeom>
          <a:noFill/>
        </p:spPr>
        <p:txBody>
          <a:bodyPr wrap="none" lIns="98084" tIns="49042" rIns="98084" bIns="490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20991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</p:sldLayoutIdLst>
  <p:timing>
    <p:tnLst>
      <p:par>
        <p:cTn id="1" dur="indefinite" restart="never" nodeType="tmRoot"/>
      </p:par>
    </p:tnLst>
  </p:timing>
  <p:txStyles>
    <p:titleStyle>
      <a:lvl1pPr algn="l" defTabSz="490421" rtl="0" eaLnBrk="1" latinLnBrk="0" hangingPunct="1">
        <a:spcBef>
          <a:spcPct val="0"/>
        </a:spcBef>
        <a:buNone/>
        <a:defRPr sz="39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67815" indent="-367815" algn="l" defTabSz="490421" rtl="0" eaLnBrk="1" latinLnBrk="0" hangingPunct="1">
        <a:spcBef>
          <a:spcPct val="20000"/>
        </a:spcBef>
        <a:buClrTx/>
        <a:buFont typeface="Arial"/>
        <a:buNone/>
        <a:defRPr lang="en-US" sz="2600" kern="1200" cap="small" baseline="0" dirty="0" smtClean="0">
          <a:solidFill>
            <a:srgbClr val="000000"/>
          </a:solidFill>
          <a:latin typeface="+mj-lt"/>
          <a:ea typeface="+mn-ea"/>
          <a:cs typeface="Helvetica"/>
        </a:defRPr>
      </a:lvl1pPr>
      <a:lvl2pPr marL="796934" indent="-306514" algn="l" defTabSz="490421" rtl="0" eaLnBrk="1" latinLnBrk="0" hangingPunct="1">
        <a:spcBef>
          <a:spcPct val="20000"/>
        </a:spcBef>
        <a:buClrTx/>
        <a:buFont typeface="Arial"/>
        <a:buChar char="•"/>
        <a:defRPr lang="en-US" sz="2400" kern="1200" dirty="0" smtClean="0">
          <a:solidFill>
            <a:srgbClr val="000000"/>
          </a:solidFill>
          <a:latin typeface="+mj-lt"/>
          <a:ea typeface="+mn-ea"/>
          <a:cs typeface="Helvetica"/>
        </a:defRPr>
      </a:lvl2pPr>
      <a:lvl3pPr marL="1226052" indent="-245210" algn="l" defTabSz="490421" rtl="0" eaLnBrk="1" latinLnBrk="0" hangingPunct="1">
        <a:spcBef>
          <a:spcPct val="20000"/>
        </a:spcBef>
        <a:buClrTx/>
        <a:buFont typeface="Arial"/>
        <a:buChar char="•"/>
        <a:defRPr lang="en-US" sz="2100" kern="1200" dirty="0" smtClean="0">
          <a:solidFill>
            <a:srgbClr val="000000"/>
          </a:solidFill>
          <a:latin typeface="+mj-lt"/>
          <a:ea typeface="+mn-ea"/>
          <a:cs typeface="Helvetica"/>
        </a:defRPr>
      </a:lvl3pPr>
      <a:lvl4pPr marL="1716472" indent="-245210" algn="l" defTabSz="490421" rtl="0" eaLnBrk="1" latinLnBrk="0" hangingPunct="1">
        <a:spcBef>
          <a:spcPct val="20000"/>
        </a:spcBef>
        <a:buClrTx/>
        <a:buFont typeface="Arial"/>
        <a:buChar char="•"/>
        <a:defRPr lang="en-US" sz="1900" kern="1200" dirty="0" smtClean="0">
          <a:solidFill>
            <a:srgbClr val="000000"/>
          </a:solidFill>
          <a:latin typeface="+mj-lt"/>
          <a:ea typeface="+mn-ea"/>
          <a:cs typeface="Helvetica"/>
        </a:defRPr>
      </a:lvl4pPr>
      <a:lvl5pPr marL="2206893" indent="-245210" algn="l" defTabSz="490421" rtl="0" eaLnBrk="1" latinLnBrk="0" hangingPunct="1">
        <a:spcBef>
          <a:spcPct val="20000"/>
        </a:spcBef>
        <a:buClrTx/>
        <a:buFont typeface="Arial"/>
        <a:buChar char="•"/>
        <a:defRPr lang="en-US" sz="1700" kern="1200" dirty="0">
          <a:solidFill>
            <a:srgbClr val="000000"/>
          </a:solidFill>
          <a:latin typeface="+mj-lt"/>
          <a:ea typeface="+mn-ea"/>
          <a:cs typeface="Helvetica"/>
        </a:defRPr>
      </a:lvl5pPr>
      <a:lvl6pPr marL="2697314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7734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8155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8576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0421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0840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1262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1682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2105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2524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2945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3365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4135" y="1234529"/>
            <a:ext cx="11358885" cy="4816774"/>
          </a:xfrm>
          <a:prstGeom prst="rect">
            <a:avLst/>
          </a:prstGeom>
        </p:spPr>
        <p:txBody>
          <a:bodyPr vert="horz" lIns="98084" tIns="49042" rIns="98084" bIns="4904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3" y="11"/>
            <a:ext cx="12192000" cy="1074755"/>
          </a:xfrm>
          <a:prstGeom prst="rect">
            <a:avLst/>
          </a:prstGeom>
          <a:solidFill>
            <a:srgbClr val="234B8D"/>
          </a:solidFill>
        </p:spPr>
        <p:txBody>
          <a:bodyPr wrap="none" lIns="392336" tIns="49042" rIns="686591" bIns="49042" anchor="ctr">
            <a:normAutofit/>
          </a:bodyPr>
          <a:lstStyle/>
          <a:p>
            <a:pPr defTabSz="490421">
              <a:spcBef>
                <a:spcPct val="0"/>
              </a:spcBef>
              <a:defRPr/>
            </a:pPr>
            <a:r>
              <a:rPr lang="en-US" sz="3900" b="1" dirty="0" smtClean="0">
                <a:solidFill>
                  <a:srgbClr val="FFFFFF"/>
                </a:solidFill>
                <a:ea typeface="ＭＳ Ｐゴシック" pitchFamily="-109" charset="-128"/>
              </a:rPr>
              <a:t>  </a:t>
            </a:r>
            <a:endParaRPr lang="en-US" sz="3900" b="1" dirty="0">
              <a:solidFill>
                <a:srgbClr val="FFFFFF"/>
              </a:solidFill>
              <a:ea typeface="ＭＳ Ｐゴシック" pitchFamily="-109" charset="-128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191001" y="704851"/>
            <a:ext cx="198148" cy="406818"/>
          </a:xfrm>
          <a:prstGeom prst="rect">
            <a:avLst/>
          </a:prstGeom>
          <a:noFill/>
        </p:spPr>
        <p:txBody>
          <a:bodyPr wrap="none" lIns="98084" tIns="49042" rIns="98084" bIns="490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26576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</p:sldLayoutIdLst>
  <p:timing>
    <p:tnLst>
      <p:par>
        <p:cTn id="1" dur="indefinite" restart="never" nodeType="tmRoot"/>
      </p:par>
    </p:tnLst>
  </p:timing>
  <p:txStyles>
    <p:titleStyle>
      <a:lvl1pPr algn="l" defTabSz="490421" rtl="0" eaLnBrk="1" latinLnBrk="0" hangingPunct="1">
        <a:spcBef>
          <a:spcPct val="0"/>
        </a:spcBef>
        <a:buNone/>
        <a:defRPr sz="39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67815" indent="-367815" algn="l" defTabSz="490421" rtl="0" eaLnBrk="1" latinLnBrk="0" hangingPunct="1">
        <a:spcBef>
          <a:spcPct val="20000"/>
        </a:spcBef>
        <a:buClrTx/>
        <a:buFont typeface="Arial"/>
        <a:buNone/>
        <a:defRPr lang="en-US" sz="2600" kern="1200" cap="small" baseline="0" dirty="0" smtClean="0">
          <a:solidFill>
            <a:srgbClr val="000000"/>
          </a:solidFill>
          <a:latin typeface="+mj-lt"/>
          <a:ea typeface="+mn-ea"/>
          <a:cs typeface="Helvetica"/>
        </a:defRPr>
      </a:lvl1pPr>
      <a:lvl2pPr marL="796934" indent="-306514" algn="l" defTabSz="490421" rtl="0" eaLnBrk="1" latinLnBrk="0" hangingPunct="1">
        <a:spcBef>
          <a:spcPct val="20000"/>
        </a:spcBef>
        <a:buClrTx/>
        <a:buFont typeface="Arial"/>
        <a:buChar char="•"/>
        <a:defRPr lang="en-US" sz="2400" kern="1200" dirty="0" smtClean="0">
          <a:solidFill>
            <a:srgbClr val="000000"/>
          </a:solidFill>
          <a:latin typeface="+mj-lt"/>
          <a:ea typeface="+mn-ea"/>
          <a:cs typeface="Helvetica"/>
        </a:defRPr>
      </a:lvl2pPr>
      <a:lvl3pPr marL="1226052" indent="-245210" algn="l" defTabSz="490421" rtl="0" eaLnBrk="1" latinLnBrk="0" hangingPunct="1">
        <a:spcBef>
          <a:spcPct val="20000"/>
        </a:spcBef>
        <a:buClrTx/>
        <a:buFont typeface="Arial"/>
        <a:buChar char="•"/>
        <a:defRPr lang="en-US" sz="2100" kern="1200" dirty="0" smtClean="0">
          <a:solidFill>
            <a:srgbClr val="000000"/>
          </a:solidFill>
          <a:latin typeface="+mj-lt"/>
          <a:ea typeface="+mn-ea"/>
          <a:cs typeface="Helvetica"/>
        </a:defRPr>
      </a:lvl3pPr>
      <a:lvl4pPr marL="1716472" indent="-245210" algn="l" defTabSz="490421" rtl="0" eaLnBrk="1" latinLnBrk="0" hangingPunct="1">
        <a:spcBef>
          <a:spcPct val="20000"/>
        </a:spcBef>
        <a:buClrTx/>
        <a:buFont typeface="Arial"/>
        <a:buChar char="•"/>
        <a:defRPr lang="en-US" sz="1900" kern="1200" dirty="0" smtClean="0">
          <a:solidFill>
            <a:srgbClr val="000000"/>
          </a:solidFill>
          <a:latin typeface="+mj-lt"/>
          <a:ea typeface="+mn-ea"/>
          <a:cs typeface="Helvetica"/>
        </a:defRPr>
      </a:lvl4pPr>
      <a:lvl5pPr marL="2206893" indent="-245210" algn="l" defTabSz="490421" rtl="0" eaLnBrk="1" latinLnBrk="0" hangingPunct="1">
        <a:spcBef>
          <a:spcPct val="20000"/>
        </a:spcBef>
        <a:buClrTx/>
        <a:buFont typeface="Arial"/>
        <a:buChar char="•"/>
        <a:defRPr lang="en-US" sz="1700" kern="1200" dirty="0">
          <a:solidFill>
            <a:srgbClr val="000000"/>
          </a:solidFill>
          <a:latin typeface="+mj-lt"/>
          <a:ea typeface="+mn-ea"/>
          <a:cs typeface="Helvetica"/>
        </a:defRPr>
      </a:lvl5pPr>
      <a:lvl6pPr marL="2697314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7734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8155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8576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0421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0840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1262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1682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2105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2524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2945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3365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4131" y="1234529"/>
            <a:ext cx="11358885" cy="4816774"/>
          </a:xfrm>
          <a:prstGeom prst="rect">
            <a:avLst/>
          </a:prstGeom>
        </p:spPr>
        <p:txBody>
          <a:bodyPr vert="horz" lIns="98084" tIns="49042" rIns="98084" bIns="4904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3" y="8"/>
            <a:ext cx="12192000" cy="1074755"/>
          </a:xfrm>
          <a:prstGeom prst="rect">
            <a:avLst/>
          </a:prstGeom>
          <a:solidFill>
            <a:srgbClr val="234B8D"/>
          </a:solidFill>
        </p:spPr>
        <p:txBody>
          <a:bodyPr wrap="none" lIns="392336" tIns="49042" rIns="686591" bIns="49042" anchor="ctr">
            <a:normAutofit/>
          </a:bodyPr>
          <a:lstStyle/>
          <a:p>
            <a:pPr defTabSz="490421">
              <a:spcBef>
                <a:spcPct val="0"/>
              </a:spcBef>
              <a:defRPr/>
            </a:pPr>
            <a:r>
              <a:rPr lang="en-US" sz="3900" b="1" dirty="0" smtClean="0">
                <a:solidFill>
                  <a:srgbClr val="FFFFFF"/>
                </a:solidFill>
                <a:ea typeface="ＭＳ Ｐゴシック" pitchFamily="-109" charset="-128"/>
              </a:rPr>
              <a:t>  </a:t>
            </a:r>
            <a:endParaRPr lang="en-US" sz="3900" b="1" dirty="0">
              <a:solidFill>
                <a:srgbClr val="FFFFFF"/>
              </a:solidFill>
              <a:ea typeface="ＭＳ Ｐゴシック" pitchFamily="-109" charset="-128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191001" y="704851"/>
            <a:ext cx="198148" cy="406818"/>
          </a:xfrm>
          <a:prstGeom prst="rect">
            <a:avLst/>
          </a:prstGeom>
          <a:noFill/>
        </p:spPr>
        <p:txBody>
          <a:bodyPr wrap="none" lIns="98084" tIns="49042" rIns="98084" bIns="490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62086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</p:sldLayoutIdLst>
  <p:timing>
    <p:tnLst>
      <p:par>
        <p:cTn id="1" dur="indefinite" restart="never" nodeType="tmRoot"/>
      </p:par>
    </p:tnLst>
  </p:timing>
  <p:txStyles>
    <p:titleStyle>
      <a:lvl1pPr algn="l" defTabSz="490421" rtl="0" eaLnBrk="1" latinLnBrk="0" hangingPunct="1">
        <a:spcBef>
          <a:spcPct val="0"/>
        </a:spcBef>
        <a:buNone/>
        <a:defRPr sz="39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67815" indent="-367815" algn="l" defTabSz="490421" rtl="0" eaLnBrk="1" latinLnBrk="0" hangingPunct="1">
        <a:spcBef>
          <a:spcPct val="20000"/>
        </a:spcBef>
        <a:buClrTx/>
        <a:buFont typeface="Arial"/>
        <a:buNone/>
        <a:defRPr lang="en-US" sz="2600" kern="1200" cap="small" baseline="0" dirty="0" smtClean="0">
          <a:solidFill>
            <a:srgbClr val="000000"/>
          </a:solidFill>
          <a:latin typeface="+mj-lt"/>
          <a:ea typeface="+mn-ea"/>
          <a:cs typeface="Helvetica"/>
        </a:defRPr>
      </a:lvl1pPr>
      <a:lvl2pPr marL="796934" indent="-306514" algn="l" defTabSz="490421" rtl="0" eaLnBrk="1" latinLnBrk="0" hangingPunct="1">
        <a:spcBef>
          <a:spcPct val="20000"/>
        </a:spcBef>
        <a:buClrTx/>
        <a:buFont typeface="Arial"/>
        <a:buChar char="•"/>
        <a:defRPr lang="en-US" sz="2400" kern="1200" dirty="0" smtClean="0">
          <a:solidFill>
            <a:srgbClr val="000000"/>
          </a:solidFill>
          <a:latin typeface="+mj-lt"/>
          <a:ea typeface="+mn-ea"/>
          <a:cs typeface="Helvetica"/>
        </a:defRPr>
      </a:lvl2pPr>
      <a:lvl3pPr marL="1226052" indent="-245210" algn="l" defTabSz="490421" rtl="0" eaLnBrk="1" latinLnBrk="0" hangingPunct="1">
        <a:spcBef>
          <a:spcPct val="20000"/>
        </a:spcBef>
        <a:buClrTx/>
        <a:buFont typeface="Arial"/>
        <a:buChar char="•"/>
        <a:defRPr lang="en-US" sz="2100" kern="1200" dirty="0" smtClean="0">
          <a:solidFill>
            <a:srgbClr val="000000"/>
          </a:solidFill>
          <a:latin typeface="+mj-lt"/>
          <a:ea typeface="+mn-ea"/>
          <a:cs typeface="Helvetica"/>
        </a:defRPr>
      </a:lvl3pPr>
      <a:lvl4pPr marL="1716472" indent="-245210" algn="l" defTabSz="490421" rtl="0" eaLnBrk="1" latinLnBrk="0" hangingPunct="1">
        <a:spcBef>
          <a:spcPct val="20000"/>
        </a:spcBef>
        <a:buClrTx/>
        <a:buFont typeface="Arial"/>
        <a:buChar char="•"/>
        <a:defRPr lang="en-US" sz="1900" kern="1200" dirty="0" smtClean="0">
          <a:solidFill>
            <a:srgbClr val="000000"/>
          </a:solidFill>
          <a:latin typeface="+mj-lt"/>
          <a:ea typeface="+mn-ea"/>
          <a:cs typeface="Helvetica"/>
        </a:defRPr>
      </a:lvl4pPr>
      <a:lvl5pPr marL="2206893" indent="-245210" algn="l" defTabSz="490421" rtl="0" eaLnBrk="1" latinLnBrk="0" hangingPunct="1">
        <a:spcBef>
          <a:spcPct val="20000"/>
        </a:spcBef>
        <a:buClrTx/>
        <a:buFont typeface="Arial"/>
        <a:buChar char="•"/>
        <a:defRPr lang="en-US" sz="1700" kern="1200" dirty="0">
          <a:solidFill>
            <a:srgbClr val="000000"/>
          </a:solidFill>
          <a:latin typeface="+mj-lt"/>
          <a:ea typeface="+mn-ea"/>
          <a:cs typeface="Helvetica"/>
        </a:defRPr>
      </a:lvl5pPr>
      <a:lvl6pPr marL="2697314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7734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8155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8576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0421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0840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1262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1682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2105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2524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2945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3365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4126" y="1234529"/>
            <a:ext cx="11358885" cy="4816774"/>
          </a:xfrm>
          <a:prstGeom prst="rect">
            <a:avLst/>
          </a:prstGeom>
        </p:spPr>
        <p:txBody>
          <a:bodyPr vert="horz" lIns="98084" tIns="49042" rIns="98084" bIns="49042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2" y="4"/>
            <a:ext cx="12192000" cy="1074755"/>
          </a:xfrm>
          <a:prstGeom prst="rect">
            <a:avLst/>
          </a:prstGeom>
          <a:solidFill>
            <a:srgbClr val="234B8D"/>
          </a:solidFill>
        </p:spPr>
        <p:txBody>
          <a:bodyPr wrap="none" lIns="392336" tIns="49042" rIns="686591" bIns="49042" anchor="ctr">
            <a:normAutofit/>
          </a:bodyPr>
          <a:lstStyle/>
          <a:p>
            <a:pPr defTabSz="490421">
              <a:spcBef>
                <a:spcPct val="0"/>
              </a:spcBef>
              <a:defRPr/>
            </a:pPr>
            <a:r>
              <a:rPr lang="en-US" sz="3900" b="1" dirty="0" smtClean="0">
                <a:solidFill>
                  <a:srgbClr val="FFFFFF"/>
                </a:solidFill>
                <a:ea typeface="ＭＳ Ｐゴシック" pitchFamily="-109" charset="-128"/>
              </a:rPr>
              <a:t>  </a:t>
            </a:r>
            <a:endParaRPr lang="en-US" sz="3900" b="1" dirty="0">
              <a:solidFill>
                <a:srgbClr val="FFFFFF"/>
              </a:solidFill>
              <a:ea typeface="ＭＳ Ｐゴシック" pitchFamily="-109" charset="-128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191001" y="704850"/>
            <a:ext cx="198148" cy="406818"/>
          </a:xfrm>
          <a:prstGeom prst="rect">
            <a:avLst/>
          </a:prstGeom>
          <a:noFill/>
        </p:spPr>
        <p:txBody>
          <a:bodyPr wrap="none" lIns="98084" tIns="49042" rIns="98084" bIns="4904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FFFFF"/>
              </a:solidFill>
              <a:latin typeface="Verdana" pitchFamily="34" charset="0"/>
              <a:ea typeface="ＭＳ Ｐゴシック" pitchFamily="-10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51580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</p:sldLayoutIdLst>
  <p:timing>
    <p:tnLst>
      <p:par>
        <p:cTn id="1" dur="indefinite" restart="never" nodeType="tmRoot"/>
      </p:par>
    </p:tnLst>
  </p:timing>
  <p:txStyles>
    <p:titleStyle>
      <a:lvl1pPr algn="l" defTabSz="490421" rtl="0" eaLnBrk="1" latinLnBrk="0" hangingPunct="1">
        <a:spcBef>
          <a:spcPct val="0"/>
        </a:spcBef>
        <a:buNone/>
        <a:defRPr sz="39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67815" indent="-367815" algn="l" defTabSz="490421" rtl="0" eaLnBrk="1" latinLnBrk="0" hangingPunct="1">
        <a:spcBef>
          <a:spcPct val="20000"/>
        </a:spcBef>
        <a:buClrTx/>
        <a:buFont typeface="Arial"/>
        <a:buNone/>
        <a:defRPr lang="en-US" sz="2600" kern="1200" cap="small" baseline="0" dirty="0" smtClean="0">
          <a:solidFill>
            <a:srgbClr val="000000"/>
          </a:solidFill>
          <a:latin typeface="+mj-lt"/>
          <a:ea typeface="+mn-ea"/>
          <a:cs typeface="Helvetica"/>
        </a:defRPr>
      </a:lvl1pPr>
      <a:lvl2pPr marL="796934" indent="-306514" algn="l" defTabSz="490421" rtl="0" eaLnBrk="1" latinLnBrk="0" hangingPunct="1">
        <a:spcBef>
          <a:spcPct val="20000"/>
        </a:spcBef>
        <a:buClrTx/>
        <a:buFont typeface="Arial"/>
        <a:buChar char="•"/>
        <a:defRPr lang="en-US" sz="2400" kern="1200" dirty="0" smtClean="0">
          <a:solidFill>
            <a:srgbClr val="000000"/>
          </a:solidFill>
          <a:latin typeface="+mj-lt"/>
          <a:ea typeface="+mn-ea"/>
          <a:cs typeface="Helvetica"/>
        </a:defRPr>
      </a:lvl2pPr>
      <a:lvl3pPr marL="1226052" indent="-245210" algn="l" defTabSz="490421" rtl="0" eaLnBrk="1" latinLnBrk="0" hangingPunct="1">
        <a:spcBef>
          <a:spcPct val="20000"/>
        </a:spcBef>
        <a:buClrTx/>
        <a:buFont typeface="Arial"/>
        <a:buChar char="•"/>
        <a:defRPr lang="en-US" sz="2100" kern="1200" dirty="0" smtClean="0">
          <a:solidFill>
            <a:srgbClr val="000000"/>
          </a:solidFill>
          <a:latin typeface="+mj-lt"/>
          <a:ea typeface="+mn-ea"/>
          <a:cs typeface="Helvetica"/>
        </a:defRPr>
      </a:lvl3pPr>
      <a:lvl4pPr marL="1716472" indent="-245210" algn="l" defTabSz="490421" rtl="0" eaLnBrk="1" latinLnBrk="0" hangingPunct="1">
        <a:spcBef>
          <a:spcPct val="20000"/>
        </a:spcBef>
        <a:buClrTx/>
        <a:buFont typeface="Arial"/>
        <a:buChar char="•"/>
        <a:defRPr lang="en-US" sz="1900" kern="1200" dirty="0" smtClean="0">
          <a:solidFill>
            <a:srgbClr val="000000"/>
          </a:solidFill>
          <a:latin typeface="+mj-lt"/>
          <a:ea typeface="+mn-ea"/>
          <a:cs typeface="Helvetica"/>
        </a:defRPr>
      </a:lvl4pPr>
      <a:lvl5pPr marL="2206893" indent="-245210" algn="l" defTabSz="490421" rtl="0" eaLnBrk="1" latinLnBrk="0" hangingPunct="1">
        <a:spcBef>
          <a:spcPct val="20000"/>
        </a:spcBef>
        <a:buClrTx/>
        <a:buFont typeface="Arial"/>
        <a:buChar char="•"/>
        <a:defRPr lang="en-US" sz="1700" kern="1200" dirty="0">
          <a:solidFill>
            <a:srgbClr val="000000"/>
          </a:solidFill>
          <a:latin typeface="+mj-lt"/>
          <a:ea typeface="+mn-ea"/>
          <a:cs typeface="Helvetica"/>
        </a:defRPr>
      </a:lvl5pPr>
      <a:lvl6pPr marL="2697314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7734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8155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8576" indent="-245210" algn="l" defTabSz="490421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0421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0840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1262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1682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2105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2524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2945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3365" algn="l" defTabSz="4904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27785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2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1688" y="156058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688" y="6544461"/>
            <a:ext cx="1323306" cy="195188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4844653" y="6541601"/>
            <a:ext cx="249940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81848A"/>
                </a:solidFill>
                <a:cs typeface="Helvetica"/>
              </a:rPr>
              <a:t>© </a:t>
            </a:r>
            <a:r>
              <a:rPr lang="en-US" sz="800" dirty="0" smtClean="0">
                <a:solidFill>
                  <a:srgbClr val="81848A"/>
                </a:solidFill>
                <a:cs typeface="Helvetica"/>
              </a:rPr>
              <a:t>2015 </a:t>
            </a:r>
            <a:r>
              <a:rPr lang="en-US" sz="800" dirty="0">
                <a:solidFill>
                  <a:srgbClr val="81848A"/>
                </a:solidFill>
                <a:cs typeface="Helvetica"/>
              </a:rPr>
              <a:t>Relay Graduate School of Education. All rights reserved.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270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  <p:sldLayoutId id="214748399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902679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1688" y="156058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688" y="6544461"/>
            <a:ext cx="1323306" cy="19518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4844653" y="6541601"/>
            <a:ext cx="249940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81848A"/>
                </a:solidFill>
                <a:cs typeface="Helvetica"/>
              </a:rPr>
              <a:t>© </a:t>
            </a:r>
            <a:r>
              <a:rPr lang="en-US" sz="800" dirty="0" smtClean="0">
                <a:solidFill>
                  <a:srgbClr val="81848A"/>
                </a:solidFill>
                <a:cs typeface="Helvetica"/>
              </a:rPr>
              <a:t>2015 </a:t>
            </a:r>
            <a:r>
              <a:rPr lang="en-US" sz="800" dirty="0">
                <a:solidFill>
                  <a:srgbClr val="81848A"/>
                </a:solidFill>
                <a:cs typeface="Helvetica"/>
              </a:rPr>
              <a:t>Relay Graduate School of Education. All rights reserved.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616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  <p:sldLayoutId id="2147484052" r:id="rId7"/>
    <p:sldLayoutId id="2147484053" r:id="rId8"/>
    <p:sldLayoutId id="2147484054" r:id="rId9"/>
    <p:sldLayoutId id="214748405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6953232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2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316314"/>
            <a:ext cx="6162261" cy="823374"/>
          </a:xfrm>
          <a:prstGeom prst="rect">
            <a:avLst/>
          </a:prstGeom>
          <a:solidFill>
            <a:srgbClr val="224A8D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1688" y="156058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688" y="6544461"/>
            <a:ext cx="1323306" cy="19518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4844653" y="6541601"/>
            <a:ext cx="249940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rgbClr val="81848A"/>
                </a:solidFill>
                <a:cs typeface="Helvetica"/>
              </a:rPr>
              <a:t>© </a:t>
            </a:r>
            <a:r>
              <a:rPr lang="en-US" sz="800" dirty="0" smtClean="0">
                <a:solidFill>
                  <a:srgbClr val="81848A"/>
                </a:solidFill>
                <a:cs typeface="Helvetica"/>
              </a:rPr>
              <a:t>2015 </a:t>
            </a:r>
            <a:r>
              <a:rPr lang="en-US" sz="800" dirty="0">
                <a:solidFill>
                  <a:srgbClr val="81848A"/>
                </a:solidFill>
                <a:cs typeface="Helvetica"/>
              </a:rPr>
              <a:t>Relay Graduate School of Education. All rights reserved.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642034" y="6509699"/>
            <a:ext cx="346569" cy="253916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sz="1050" smtClean="0">
                <a:solidFill>
                  <a:schemeClr val="accent5"/>
                </a:solidFill>
                <a:latin typeface="Knockout 30 Junior Welterwt" pitchFamily="50" charset="0"/>
                <a:cs typeface="Helvetica"/>
              </a:defRPr>
            </a:lvl1pPr>
          </a:lstStyle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‹#›</a:t>
            </a:fld>
            <a:endParaRPr>
              <a:solidFill>
                <a:srgbClr val="8184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226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  <p:sldLayoutId id="2147484075" r:id="rId8"/>
    <p:sldLayoutId id="2147484076" r:id="rId9"/>
    <p:sldLayoutId id="2147484077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117.xml"/><Relationship Id="rId7" Type="http://schemas.openxmlformats.org/officeDocument/2006/relationships/image" Target="../media/image1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16.png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16.png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16.png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1.xml"/><Relationship Id="rId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7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8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1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134.xml"/><Relationship Id="rId7" Type="http://schemas.openxmlformats.org/officeDocument/2006/relationships/image" Target="../media/image1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8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8405857"/>
              </p:ext>
            </p:extLst>
          </p:nvPr>
        </p:nvGraphicFramePr>
        <p:xfrm>
          <a:off x="1589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916" name="Picture 4" descr="https://s.elance.com/files/ws_69762187/7d31a475-21d1-4d9e-a8b6-43ecdbe83cd4/RGSE%20Bags.jpg?t=1429948327&amp;s=f264b76ef1a98ec78b4a18ecbc1a732b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9" b="20128"/>
          <a:stretch/>
        </p:blipFill>
        <p:spPr bwMode="auto">
          <a:xfrm>
            <a:off x="5" y="-21564"/>
            <a:ext cx="12191999" cy="646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1415156" y="1201884"/>
            <a:ext cx="9376229" cy="3656719"/>
          </a:xfrm>
          <a:prstGeom prst="rect">
            <a:avLst/>
          </a:prstGeom>
          <a:solidFill>
            <a:srgbClr val="224A8D">
              <a:alpha val="8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1"/>
          <p:cNvSpPr txBox="1">
            <a:spLocks/>
          </p:cNvSpPr>
          <p:nvPr/>
        </p:nvSpPr>
        <p:spPr>
          <a:xfrm>
            <a:off x="1503363" y="1404485"/>
            <a:ext cx="9185275" cy="62289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0000"/>
              </a:lnSpc>
              <a:spcBef>
                <a:spcPts val="0"/>
              </a:spcBef>
              <a:buNone/>
            </a:pPr>
            <a:r>
              <a:rPr lang="en-US" sz="11500" dirty="0" smtClean="0">
                <a:solidFill>
                  <a:schemeClr val="bg1"/>
                </a:solidFill>
                <a:latin typeface="Calibri" panose="020F0502020204030204" pitchFamily="34" charset="0"/>
              </a:rPr>
              <a:t>Relay</a:t>
            </a:r>
            <a:r>
              <a:rPr lang="en-US" sz="44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</a:p>
          <a:p>
            <a:pPr marL="0" indent="0" algn="ctr">
              <a:lnSpc>
                <a:spcPct val="80000"/>
              </a:lnSpc>
              <a:spcBef>
                <a:spcPts val="0"/>
              </a:spcBef>
              <a:buNone/>
            </a:pPr>
            <a:r>
              <a:rPr lang="en-US" sz="3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Graduate School of Education</a:t>
            </a:r>
            <a:endParaRPr lang="en-US" sz="36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1510622" y="3282075"/>
            <a:ext cx="9185275" cy="62289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400" dirty="0" smtClean="0">
              <a:solidFill>
                <a:schemeClr val="bg1"/>
              </a:solidFill>
              <a:latin typeface="Knockout 30 Junior Welterwt" pitchFamily="50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16115" y="6470674"/>
            <a:ext cx="1394503" cy="3657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2790825" y="3803074"/>
            <a:ext cx="66103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  <a:latin typeface="Calibri" panose="020F0502020204030204" pitchFamily="34" charset="0"/>
              </a:rPr>
              <a:t>Chris Fraser,  Dean of Relay Texas</a:t>
            </a:r>
          </a:p>
          <a:p>
            <a:pPr algn="ctr"/>
            <a:r>
              <a:rPr lang="en-US" sz="2400" dirty="0" smtClean="0">
                <a:solidFill>
                  <a:schemeClr val="bg1"/>
                </a:solidFill>
                <a:latin typeface="Calibri" panose="020F0502020204030204" pitchFamily="34" charset="0"/>
              </a:rPr>
              <a:t>cfraser@relay.edu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831307" y="6470674"/>
            <a:ext cx="281143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5707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06830" y="-442269"/>
            <a:ext cx="12398830" cy="8037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486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" y="2688454"/>
            <a:ext cx="3626068" cy="823374"/>
          </a:xfrm>
        </p:spPr>
        <p:txBody>
          <a:bodyPr>
            <a:normAutofit/>
          </a:bodyPr>
          <a:lstStyle/>
          <a:p>
            <a:r>
              <a:rPr lang="en-US" dirty="0" smtClean="0">
                <a:latin typeface="Calibri" panose="020F0502020204030204" pitchFamily="34" charset="0"/>
              </a:rPr>
              <a:t>Our Approach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45925" y="6510338"/>
            <a:ext cx="346075" cy="254000"/>
          </a:xfrm>
        </p:spPr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11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831307" y="6470674"/>
            <a:ext cx="281143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497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/>
          <p:nvPr/>
        </p:nvSpPr>
        <p:spPr>
          <a:xfrm>
            <a:off x="10551886" y="2351309"/>
            <a:ext cx="1321140" cy="361405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Pentagon 16"/>
          <p:cNvSpPr/>
          <p:nvPr/>
        </p:nvSpPr>
        <p:spPr>
          <a:xfrm>
            <a:off x="283577" y="2351311"/>
            <a:ext cx="3959225" cy="3614057"/>
          </a:xfrm>
          <a:prstGeom prst="homePlate">
            <a:avLst>
              <a:gd name="adj" fmla="val 1036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9" name="Chevron 18"/>
          <p:cNvSpPr/>
          <p:nvPr/>
        </p:nvSpPr>
        <p:spPr>
          <a:xfrm>
            <a:off x="4006836" y="2351309"/>
            <a:ext cx="4207358" cy="3614057"/>
          </a:xfrm>
          <a:prstGeom prst="chevron">
            <a:avLst>
              <a:gd name="adj" fmla="val 10215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1375942" y="3168321"/>
            <a:ext cx="1458688" cy="1463040"/>
          </a:xfrm>
          <a:prstGeom prst="ellipse">
            <a:avLst/>
          </a:prstGeom>
          <a:solidFill>
            <a:srgbClr val="B20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Chevron 20"/>
          <p:cNvSpPr/>
          <p:nvPr/>
        </p:nvSpPr>
        <p:spPr>
          <a:xfrm>
            <a:off x="7978228" y="2351309"/>
            <a:ext cx="3891248" cy="3614057"/>
          </a:xfrm>
          <a:prstGeom prst="chevron">
            <a:avLst>
              <a:gd name="adj" fmla="val 10215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5381171" y="3168321"/>
            <a:ext cx="1458688" cy="1463040"/>
          </a:xfrm>
          <a:prstGeom prst="ellipse">
            <a:avLst/>
          </a:prstGeom>
          <a:solidFill>
            <a:srgbClr val="B20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5" name="Oval 24"/>
          <p:cNvSpPr/>
          <p:nvPr/>
        </p:nvSpPr>
        <p:spPr>
          <a:xfrm>
            <a:off x="9408660" y="3168321"/>
            <a:ext cx="1458688" cy="1463040"/>
          </a:xfrm>
          <a:prstGeom prst="ellipse">
            <a:avLst/>
          </a:prstGeom>
          <a:solidFill>
            <a:srgbClr val="B20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-1" y="266740"/>
            <a:ext cx="8474300" cy="711200"/>
          </a:xfrm>
          <a:prstGeom prst="rect">
            <a:avLst/>
          </a:prstGeom>
          <a:solidFill>
            <a:srgbClr val="224A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/>
            <a:r>
              <a:rPr lang="en-US" sz="3200" dirty="0" smtClean="0">
                <a:solidFill>
                  <a:prstClr val="white"/>
                </a:solidFill>
                <a:latin typeface="Calibri" panose="020F0502020204030204" pitchFamily="34" charset="0"/>
              </a:rPr>
              <a:t>The Relay Approach: Learn. Practice. Perform.</a:t>
            </a:r>
            <a:endParaRPr lang="en-US" sz="32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546480" y="4908163"/>
            <a:ext cx="111761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dirty="0" smtClean="0">
                <a:solidFill>
                  <a:srgbClr val="B20838"/>
                </a:solidFill>
                <a:latin typeface="Calibri" panose="020F0502020204030204" pitchFamily="34" charset="0"/>
              </a:rPr>
              <a:t>Learn</a:t>
            </a:r>
          </a:p>
        </p:txBody>
      </p:sp>
      <p:sp>
        <p:nvSpPr>
          <p:cNvPr id="8" name="Rectangle 7"/>
          <p:cNvSpPr/>
          <p:nvPr/>
        </p:nvSpPr>
        <p:spPr>
          <a:xfrm>
            <a:off x="5369122" y="4908163"/>
            <a:ext cx="150996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dirty="0" smtClean="0">
                <a:solidFill>
                  <a:srgbClr val="B20838"/>
                </a:solidFill>
                <a:latin typeface="Calibri" panose="020F0502020204030204" pitchFamily="34" charset="0"/>
              </a:rPr>
              <a:t>Practice</a:t>
            </a:r>
            <a:endParaRPr lang="en-US" sz="3200" dirty="0">
              <a:solidFill>
                <a:srgbClr val="B20838"/>
              </a:solidFill>
              <a:latin typeface="Calibri" panose="020F05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373214" y="4908163"/>
            <a:ext cx="153843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dirty="0" smtClean="0">
                <a:solidFill>
                  <a:srgbClr val="B20838"/>
                </a:solidFill>
                <a:latin typeface="Calibri" panose="020F0502020204030204" pitchFamily="34" charset="0"/>
              </a:rPr>
              <a:t>Perform</a:t>
            </a:r>
            <a:endParaRPr lang="en-US" sz="3200" dirty="0">
              <a:solidFill>
                <a:srgbClr val="B20838"/>
              </a:solidFill>
              <a:latin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91650" y="1205740"/>
            <a:ext cx="1167782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1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ust as doctors and athletes must train for years to become expert professionals, we know that it takes </a:t>
            </a:r>
            <a:r>
              <a:rPr lang="en-US" sz="2100" dirty="0" smtClean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ticulous practice, feedback, and </a:t>
            </a:r>
            <a:r>
              <a:rPr lang="en-US" sz="21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petition to become a skilled </a:t>
            </a:r>
            <a:r>
              <a:rPr lang="en-US" sz="2100" dirty="0" smtClean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acher or principal.</a:t>
            </a:r>
            <a:endParaRPr lang="en-US" sz="21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9578" y="3418211"/>
            <a:ext cx="865707" cy="86570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6257594" y="3547792"/>
            <a:ext cx="221064" cy="282433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6270172" y="3406261"/>
            <a:ext cx="329279" cy="22334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5675332" y="3481275"/>
            <a:ext cx="911541" cy="865707"/>
            <a:chOff x="5675332" y="3055593"/>
            <a:chExt cx="911541" cy="865707"/>
          </a:xfrm>
        </p:grpSpPr>
        <p:pic>
          <p:nvPicPr>
            <p:cNvPr id="26" name="Picture 25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7277"/>
            <a:stretch/>
          </p:blipFill>
          <p:spPr>
            <a:xfrm>
              <a:off x="5675332" y="3055593"/>
              <a:ext cx="764672" cy="479621"/>
            </a:xfrm>
            <a:prstGeom prst="rect">
              <a:avLst/>
            </a:prstGeom>
          </p:spPr>
        </p:pic>
        <p:sp>
          <p:nvSpPr>
            <p:cNvPr id="13" name="Oval 12"/>
            <p:cNvSpPr/>
            <p:nvPr/>
          </p:nvSpPr>
          <p:spPr>
            <a:xfrm>
              <a:off x="5739166" y="3617031"/>
              <a:ext cx="109181" cy="109181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Chord 13"/>
            <p:cNvSpPr>
              <a:spLocks noChangeAspect="1"/>
            </p:cNvSpPr>
            <p:nvPr/>
          </p:nvSpPr>
          <p:spPr>
            <a:xfrm rot="6692439">
              <a:off x="5711844" y="3734475"/>
              <a:ext cx="169931" cy="169931"/>
            </a:xfrm>
            <a:prstGeom prst="chord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5915058" y="3617031"/>
              <a:ext cx="109181" cy="109181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8" name="Chord 27"/>
            <p:cNvSpPr>
              <a:spLocks noChangeAspect="1"/>
            </p:cNvSpPr>
            <p:nvPr/>
          </p:nvSpPr>
          <p:spPr>
            <a:xfrm rot="6692439">
              <a:off x="5887736" y="3734476"/>
              <a:ext cx="169931" cy="169931"/>
            </a:xfrm>
            <a:prstGeom prst="chord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6106226" y="3546756"/>
              <a:ext cx="144885" cy="144885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0" name="Chord 29"/>
            <p:cNvSpPr>
              <a:spLocks noChangeAspect="1"/>
            </p:cNvSpPr>
            <p:nvPr/>
          </p:nvSpPr>
          <p:spPr>
            <a:xfrm rot="6692439">
              <a:off x="6069970" y="3695799"/>
              <a:ext cx="225501" cy="225501"/>
            </a:xfrm>
            <a:prstGeom prst="chord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6" name="Oval Callout 15"/>
            <p:cNvSpPr/>
            <p:nvPr/>
          </p:nvSpPr>
          <p:spPr>
            <a:xfrm>
              <a:off x="6316909" y="3452522"/>
              <a:ext cx="269964" cy="197177"/>
            </a:xfrm>
            <a:prstGeom prst="wedgeEllipseCallout">
              <a:avLst>
                <a:gd name="adj1" fmla="val -44127"/>
                <a:gd name="adj2" fmla="val 56122"/>
              </a:avLst>
            </a:prstGeom>
            <a:solidFill>
              <a:schemeClr val="accent3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9062" y="3422932"/>
            <a:ext cx="966574" cy="966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548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1" y="275771"/>
            <a:ext cx="6223380" cy="711200"/>
          </a:xfrm>
          <a:prstGeom prst="rect">
            <a:avLst/>
          </a:prstGeom>
          <a:solidFill>
            <a:srgbClr val="224A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/>
            <a:r>
              <a:rPr lang="en-US" sz="4000" dirty="0" smtClean="0">
                <a:solidFill>
                  <a:prstClr val="white"/>
                </a:solidFill>
                <a:latin typeface="Calibri" panose="020F0502020204030204" pitchFamily="34" charset="0"/>
              </a:rPr>
              <a:t>The Relay Approach: Learn</a:t>
            </a:r>
            <a:endParaRPr lang="en-US" sz="40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1168091" y="275771"/>
            <a:ext cx="820512" cy="822960"/>
            <a:chOff x="11168091" y="275771"/>
            <a:chExt cx="820512" cy="822960"/>
          </a:xfrm>
        </p:grpSpPr>
        <p:sp>
          <p:nvSpPr>
            <p:cNvPr id="11" name="Oval 10"/>
            <p:cNvSpPr/>
            <p:nvPr/>
          </p:nvSpPr>
          <p:spPr>
            <a:xfrm>
              <a:off x="11168091" y="275771"/>
              <a:ext cx="820512" cy="82296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37357" y="416334"/>
              <a:ext cx="486960" cy="486960"/>
            </a:xfrm>
            <a:prstGeom prst="rect">
              <a:avLst/>
            </a:prstGeom>
          </p:spPr>
        </p:pic>
      </p:grpSp>
      <p:cxnSp>
        <p:nvCxnSpPr>
          <p:cNvPr id="17" name="Straight Arrow Connector 16"/>
          <p:cNvCxnSpPr>
            <a:stCxn id="7" idx="6"/>
            <a:endCxn id="10" idx="2"/>
          </p:cNvCxnSpPr>
          <p:nvPr/>
        </p:nvCxnSpPr>
        <p:spPr>
          <a:xfrm>
            <a:off x="9696333" y="687251"/>
            <a:ext cx="325623" cy="0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10" idx="6"/>
            <a:endCxn id="11" idx="2"/>
          </p:cNvCxnSpPr>
          <p:nvPr/>
        </p:nvCxnSpPr>
        <p:spPr>
          <a:xfrm>
            <a:off x="10842468" y="687251"/>
            <a:ext cx="325623" cy="0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6397" y="1695454"/>
            <a:ext cx="6580414" cy="4386943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-1" y="1695454"/>
            <a:ext cx="5626398" cy="43869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95942" y="2503930"/>
            <a:ext cx="5249515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65138" indent="-465138">
              <a:spcAft>
                <a:spcPts val="1800"/>
              </a:spcAft>
              <a:buFont typeface="Wingdings" panose="05000000000000000000" pitchFamily="2" charset="2"/>
              <a:buChar char="þ"/>
            </a:pPr>
            <a:r>
              <a:rPr lang="en-US" sz="2400" dirty="0" smtClean="0">
                <a:solidFill>
                  <a:prstClr val="black"/>
                </a:solidFill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ractical </a:t>
            </a:r>
            <a:r>
              <a:rPr lang="en-US" sz="2400" dirty="0">
                <a:solidFill>
                  <a:prstClr val="black"/>
                </a:solidFill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echniques that can be used the next day in the </a:t>
            </a:r>
            <a:r>
              <a:rPr lang="en-US" sz="2400" dirty="0" smtClean="0">
                <a:solidFill>
                  <a:prstClr val="black"/>
                </a:solidFill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lassroom</a:t>
            </a:r>
          </a:p>
          <a:p>
            <a:pPr marL="465138" indent="-465138">
              <a:spcAft>
                <a:spcPts val="1800"/>
              </a:spcAft>
              <a:buFont typeface="Wingdings" panose="05000000000000000000" pitchFamily="2" charset="2"/>
              <a:buChar char="þ"/>
            </a:pPr>
            <a:r>
              <a:rPr lang="en-US" sz="2400" dirty="0" smtClean="0">
                <a:solidFill>
                  <a:prstClr val="black"/>
                </a:solidFill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hampion </a:t>
            </a:r>
            <a:r>
              <a:rPr lang="en-US" sz="2400" dirty="0">
                <a:solidFill>
                  <a:prstClr val="black"/>
                </a:solidFill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rofessors who were themselves outstanding teachers </a:t>
            </a:r>
            <a:endParaRPr lang="en-US" sz="2400" dirty="0" smtClean="0">
              <a:solidFill>
                <a:prstClr val="black"/>
              </a:solidFill>
              <a:latin typeface="Calibri" panose="020F050202020403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465138" indent="-465138">
              <a:spcAft>
                <a:spcPts val="1800"/>
              </a:spcAft>
              <a:buFont typeface="Wingdings" panose="05000000000000000000" pitchFamily="2" charset="2"/>
              <a:buChar char="þ"/>
            </a:pPr>
            <a:r>
              <a:rPr lang="en-US" sz="2400" dirty="0" smtClean="0">
                <a:solidFill>
                  <a:prstClr val="black"/>
                </a:solidFill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urriculum </a:t>
            </a:r>
            <a:r>
              <a:rPr lang="en-US" sz="2400" dirty="0">
                <a:solidFill>
                  <a:prstClr val="black"/>
                </a:solidFill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s delivered 60% </a:t>
            </a:r>
            <a:r>
              <a:rPr lang="en-US" sz="2400" dirty="0" smtClean="0">
                <a:solidFill>
                  <a:prstClr val="black"/>
                </a:solidFill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            in-person</a:t>
            </a:r>
            <a:r>
              <a:rPr lang="en-US" sz="2400" dirty="0">
                <a:solidFill>
                  <a:prstClr val="black"/>
                </a:solidFill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, 40% online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13</a:t>
            </a:fld>
            <a:endParaRPr>
              <a:solidFill>
                <a:srgbClr val="81848A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8875821" y="275771"/>
            <a:ext cx="820512" cy="822960"/>
            <a:chOff x="8875821" y="275771"/>
            <a:chExt cx="820512" cy="822960"/>
          </a:xfrm>
        </p:grpSpPr>
        <p:sp>
          <p:nvSpPr>
            <p:cNvPr id="7" name="Oval 6"/>
            <p:cNvSpPr/>
            <p:nvPr/>
          </p:nvSpPr>
          <p:spPr>
            <a:xfrm>
              <a:off x="8875821" y="275771"/>
              <a:ext cx="820512" cy="822960"/>
            </a:xfrm>
            <a:prstGeom prst="ellipse">
              <a:avLst/>
            </a:prstGeom>
            <a:solidFill>
              <a:srgbClr val="B20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31581" y="432755"/>
              <a:ext cx="508991" cy="508991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/>
        </p:nvGrpSpPr>
        <p:grpSpPr>
          <a:xfrm>
            <a:off x="10021956" y="275771"/>
            <a:ext cx="820512" cy="822960"/>
            <a:chOff x="10021956" y="275771"/>
            <a:chExt cx="820512" cy="822960"/>
          </a:xfrm>
        </p:grpSpPr>
        <p:sp>
          <p:nvSpPr>
            <p:cNvPr id="10" name="Oval 9"/>
            <p:cNvSpPr/>
            <p:nvPr/>
          </p:nvSpPr>
          <p:spPr>
            <a:xfrm>
              <a:off x="10021956" y="275771"/>
              <a:ext cx="820512" cy="82296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0175099" y="415951"/>
              <a:ext cx="589381" cy="559746"/>
              <a:chOff x="5675332" y="3055593"/>
              <a:chExt cx="911541" cy="865707"/>
            </a:xfrm>
          </p:grpSpPr>
          <p:pic>
            <p:nvPicPr>
              <p:cNvPr id="35" name="Picture 34"/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7277"/>
              <a:stretch/>
            </p:blipFill>
            <p:spPr>
              <a:xfrm>
                <a:off x="5675332" y="3055593"/>
                <a:ext cx="764672" cy="479621"/>
              </a:xfrm>
              <a:prstGeom prst="rect">
                <a:avLst/>
              </a:prstGeom>
            </p:spPr>
          </p:pic>
          <p:sp>
            <p:nvSpPr>
              <p:cNvPr id="36" name="Oval 35"/>
              <p:cNvSpPr/>
              <p:nvPr/>
            </p:nvSpPr>
            <p:spPr>
              <a:xfrm>
                <a:off x="5739166" y="3617031"/>
                <a:ext cx="109181" cy="109181"/>
              </a:xfrm>
              <a:prstGeom prst="ellips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7" name="Chord 36"/>
              <p:cNvSpPr>
                <a:spLocks noChangeAspect="1"/>
              </p:cNvSpPr>
              <p:nvPr/>
            </p:nvSpPr>
            <p:spPr>
              <a:xfrm rot="6692439">
                <a:off x="5711844" y="3734475"/>
                <a:ext cx="169931" cy="169931"/>
              </a:xfrm>
              <a:prstGeom prst="chord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8" name="Oval 37"/>
              <p:cNvSpPr/>
              <p:nvPr/>
            </p:nvSpPr>
            <p:spPr>
              <a:xfrm>
                <a:off x="5915058" y="3617031"/>
                <a:ext cx="109181" cy="109181"/>
              </a:xfrm>
              <a:prstGeom prst="ellips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9" name="Chord 38"/>
              <p:cNvSpPr>
                <a:spLocks noChangeAspect="1"/>
              </p:cNvSpPr>
              <p:nvPr/>
            </p:nvSpPr>
            <p:spPr>
              <a:xfrm rot="6692439">
                <a:off x="5887736" y="3734476"/>
                <a:ext cx="169931" cy="169931"/>
              </a:xfrm>
              <a:prstGeom prst="chord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0" name="Oval 39"/>
              <p:cNvSpPr/>
              <p:nvPr/>
            </p:nvSpPr>
            <p:spPr>
              <a:xfrm>
                <a:off x="6106226" y="3546756"/>
                <a:ext cx="144885" cy="144885"/>
              </a:xfrm>
              <a:prstGeom prst="ellipse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1" name="Chord 40"/>
              <p:cNvSpPr>
                <a:spLocks noChangeAspect="1"/>
              </p:cNvSpPr>
              <p:nvPr/>
            </p:nvSpPr>
            <p:spPr>
              <a:xfrm rot="6692439">
                <a:off x="6069970" y="3695799"/>
                <a:ext cx="225501" cy="225501"/>
              </a:xfrm>
              <a:prstGeom prst="chord">
                <a:avLst/>
              </a:prstGeom>
              <a:no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2" name="Oval Callout 41"/>
              <p:cNvSpPr/>
              <p:nvPr/>
            </p:nvSpPr>
            <p:spPr>
              <a:xfrm>
                <a:off x="6316909" y="3452522"/>
                <a:ext cx="269964" cy="197177"/>
              </a:xfrm>
              <a:prstGeom prst="wedgeEllipseCallout">
                <a:avLst>
                  <a:gd name="adj1" fmla="val -44127"/>
                  <a:gd name="adj2" fmla="val 56122"/>
                </a:avLst>
              </a:prstGeom>
              <a:solidFill>
                <a:schemeClr val="bg1">
                  <a:lumMod val="85000"/>
                </a:schemeClr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26" name="TextBox 25"/>
          <p:cNvSpPr txBox="1"/>
          <p:nvPr/>
        </p:nvSpPr>
        <p:spPr>
          <a:xfrm>
            <a:off x="4831307" y="6470674"/>
            <a:ext cx="281143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7338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1" y="275771"/>
            <a:ext cx="6560460" cy="711200"/>
          </a:xfrm>
          <a:prstGeom prst="rect">
            <a:avLst/>
          </a:prstGeom>
          <a:solidFill>
            <a:srgbClr val="224A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/>
            <a:r>
              <a:rPr lang="en-US" sz="4000" dirty="0" smtClean="0">
                <a:solidFill>
                  <a:prstClr val="white"/>
                </a:solidFill>
                <a:latin typeface="Calibri" panose="020F0502020204030204" pitchFamily="34" charset="0"/>
              </a:rPr>
              <a:t>The Relay Approach: Practice</a:t>
            </a:r>
            <a:endParaRPr lang="en-US" sz="40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11168091" y="275771"/>
            <a:ext cx="820512" cy="82296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7357" y="416334"/>
            <a:ext cx="486960" cy="486960"/>
          </a:xfrm>
          <a:prstGeom prst="rect">
            <a:avLst/>
          </a:prstGeom>
        </p:spPr>
      </p:pic>
      <p:cxnSp>
        <p:nvCxnSpPr>
          <p:cNvPr id="17" name="Straight Arrow Connector 16"/>
          <p:cNvCxnSpPr/>
          <p:nvPr/>
        </p:nvCxnSpPr>
        <p:spPr>
          <a:xfrm>
            <a:off x="9696333" y="687251"/>
            <a:ext cx="325623" cy="0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endCxn id="11" idx="2"/>
          </p:cNvCxnSpPr>
          <p:nvPr/>
        </p:nvCxnSpPr>
        <p:spPr>
          <a:xfrm>
            <a:off x="10842468" y="687251"/>
            <a:ext cx="325623" cy="0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6560458" y="1695454"/>
            <a:ext cx="5626398" cy="43869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830027" y="2503928"/>
            <a:ext cx="5087259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65138" indent="-465138">
              <a:spcAft>
                <a:spcPts val="1800"/>
              </a:spcAft>
              <a:buFont typeface="Wingdings" panose="05000000000000000000" pitchFamily="2" charset="2"/>
              <a:buChar char="þ"/>
            </a:pPr>
            <a:r>
              <a:rPr lang="en-US" sz="2400" dirty="0">
                <a:solidFill>
                  <a:prstClr val="black"/>
                </a:solidFill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Unparalleled opportunities for practice with faculty and peer teachers</a:t>
            </a:r>
          </a:p>
          <a:p>
            <a:pPr marL="465138" indent="-465138">
              <a:spcAft>
                <a:spcPts val="1800"/>
              </a:spcAft>
              <a:buFont typeface="Wingdings" panose="05000000000000000000" pitchFamily="2" charset="2"/>
              <a:buChar char="þ"/>
            </a:pPr>
            <a:r>
              <a:rPr lang="en-US" sz="2400" dirty="0">
                <a:solidFill>
                  <a:prstClr val="black"/>
                </a:solidFill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Use of video to record and analyze teaching in action</a:t>
            </a:r>
          </a:p>
          <a:p>
            <a:pPr marL="465138" indent="-465138">
              <a:spcAft>
                <a:spcPts val="1800"/>
              </a:spcAft>
              <a:buFont typeface="Wingdings" panose="05000000000000000000" pitchFamily="2" charset="2"/>
              <a:buChar char="þ"/>
            </a:pPr>
            <a:r>
              <a:rPr lang="en-US" sz="2400" dirty="0">
                <a:solidFill>
                  <a:prstClr val="black"/>
                </a:solidFill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mmediate feedback to help refine technique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071" y="1695452"/>
            <a:ext cx="6584529" cy="4386943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14</a:t>
            </a:fld>
            <a:endParaRPr>
              <a:solidFill>
                <a:srgbClr val="81848A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8875821" y="275771"/>
            <a:ext cx="820512" cy="822960"/>
            <a:chOff x="8875821" y="275771"/>
            <a:chExt cx="820512" cy="822960"/>
          </a:xfrm>
          <a:solidFill>
            <a:schemeClr val="bg1">
              <a:lumMod val="85000"/>
            </a:schemeClr>
          </a:solidFill>
        </p:grpSpPr>
        <p:sp>
          <p:nvSpPr>
            <p:cNvPr id="19" name="Oval 18"/>
            <p:cNvSpPr/>
            <p:nvPr/>
          </p:nvSpPr>
          <p:spPr>
            <a:xfrm>
              <a:off x="8875821" y="275771"/>
              <a:ext cx="820512" cy="82296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31581" y="432755"/>
              <a:ext cx="508991" cy="508991"/>
            </a:xfrm>
            <a:prstGeom prst="rect">
              <a:avLst/>
            </a:prstGeom>
            <a:grpFill/>
          </p:spPr>
        </p:pic>
      </p:grpSp>
      <p:grpSp>
        <p:nvGrpSpPr>
          <p:cNvPr id="24" name="Group 23"/>
          <p:cNvGrpSpPr/>
          <p:nvPr/>
        </p:nvGrpSpPr>
        <p:grpSpPr>
          <a:xfrm>
            <a:off x="10096368" y="248334"/>
            <a:ext cx="820512" cy="822960"/>
            <a:chOff x="10021956" y="275771"/>
            <a:chExt cx="820512" cy="822960"/>
          </a:xfrm>
          <a:solidFill>
            <a:srgbClr val="B20838"/>
          </a:solidFill>
        </p:grpSpPr>
        <p:sp>
          <p:nvSpPr>
            <p:cNvPr id="25" name="Oval 24"/>
            <p:cNvSpPr/>
            <p:nvPr/>
          </p:nvSpPr>
          <p:spPr>
            <a:xfrm>
              <a:off x="10021956" y="275771"/>
              <a:ext cx="820512" cy="82296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10175099" y="415951"/>
              <a:ext cx="589381" cy="559746"/>
              <a:chOff x="5675332" y="3055593"/>
              <a:chExt cx="911541" cy="865707"/>
            </a:xfrm>
            <a:grpFill/>
          </p:grpSpPr>
          <p:pic>
            <p:nvPicPr>
              <p:cNvPr id="27" name="Picture 26"/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7277"/>
              <a:stretch/>
            </p:blipFill>
            <p:spPr>
              <a:xfrm>
                <a:off x="5675332" y="3055593"/>
                <a:ext cx="764672" cy="479621"/>
              </a:xfrm>
              <a:prstGeom prst="rect">
                <a:avLst/>
              </a:prstGeom>
              <a:grpFill/>
            </p:spPr>
          </p:pic>
          <p:sp>
            <p:nvSpPr>
              <p:cNvPr id="28" name="Oval 27"/>
              <p:cNvSpPr/>
              <p:nvPr/>
            </p:nvSpPr>
            <p:spPr>
              <a:xfrm>
                <a:off x="5739166" y="3617031"/>
                <a:ext cx="109181" cy="109181"/>
              </a:xfrm>
              <a:prstGeom prst="ellipse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Chord 28"/>
              <p:cNvSpPr>
                <a:spLocks noChangeAspect="1"/>
              </p:cNvSpPr>
              <p:nvPr/>
            </p:nvSpPr>
            <p:spPr>
              <a:xfrm rot="6692439">
                <a:off x="5711844" y="3734475"/>
                <a:ext cx="169931" cy="169931"/>
              </a:xfrm>
              <a:prstGeom prst="chord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Oval 29"/>
              <p:cNvSpPr/>
              <p:nvPr/>
            </p:nvSpPr>
            <p:spPr>
              <a:xfrm>
                <a:off x="5915058" y="3617031"/>
                <a:ext cx="109181" cy="109181"/>
              </a:xfrm>
              <a:prstGeom prst="ellipse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Chord 30"/>
              <p:cNvSpPr>
                <a:spLocks noChangeAspect="1"/>
              </p:cNvSpPr>
              <p:nvPr/>
            </p:nvSpPr>
            <p:spPr>
              <a:xfrm rot="6692439">
                <a:off x="5887736" y="3734476"/>
                <a:ext cx="169931" cy="169931"/>
              </a:xfrm>
              <a:prstGeom prst="chord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Oval 31"/>
              <p:cNvSpPr/>
              <p:nvPr/>
            </p:nvSpPr>
            <p:spPr>
              <a:xfrm>
                <a:off x="6106226" y="3546756"/>
                <a:ext cx="144885" cy="144885"/>
              </a:xfrm>
              <a:prstGeom prst="ellipse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Chord 32"/>
              <p:cNvSpPr>
                <a:spLocks noChangeAspect="1"/>
              </p:cNvSpPr>
              <p:nvPr/>
            </p:nvSpPr>
            <p:spPr>
              <a:xfrm rot="6692439">
                <a:off x="6069970" y="3695799"/>
                <a:ext cx="225501" cy="225501"/>
              </a:xfrm>
              <a:prstGeom prst="chord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Oval Callout 33"/>
              <p:cNvSpPr/>
              <p:nvPr/>
            </p:nvSpPr>
            <p:spPr>
              <a:xfrm>
                <a:off x="6316909" y="3452522"/>
                <a:ext cx="269964" cy="197177"/>
              </a:xfrm>
              <a:prstGeom prst="wedgeEllipseCallout">
                <a:avLst>
                  <a:gd name="adj1" fmla="val -44127"/>
                  <a:gd name="adj2" fmla="val 56122"/>
                </a:avLst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35" name="TextBox 34"/>
          <p:cNvSpPr txBox="1"/>
          <p:nvPr/>
        </p:nvSpPr>
        <p:spPr>
          <a:xfrm>
            <a:off x="4831307" y="6470674"/>
            <a:ext cx="281143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118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2" y="275771"/>
            <a:ext cx="6428097" cy="711200"/>
          </a:xfrm>
          <a:prstGeom prst="rect">
            <a:avLst/>
          </a:prstGeom>
          <a:solidFill>
            <a:srgbClr val="224A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/>
            <a:r>
              <a:rPr lang="en-US" sz="4000" dirty="0" smtClean="0">
                <a:solidFill>
                  <a:prstClr val="white"/>
                </a:solidFill>
                <a:latin typeface="Calibri" panose="020F0502020204030204" pitchFamily="34" charset="0"/>
              </a:rPr>
              <a:t>The Relay Approach: Perform</a:t>
            </a:r>
            <a:endParaRPr lang="en-US" sz="40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11168091" y="275771"/>
            <a:ext cx="820512" cy="822960"/>
          </a:xfrm>
          <a:prstGeom prst="ellipse">
            <a:avLst/>
          </a:prstGeom>
          <a:solidFill>
            <a:srgbClr val="B20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7357" y="416334"/>
            <a:ext cx="486960" cy="486960"/>
          </a:xfrm>
          <a:prstGeom prst="rect">
            <a:avLst/>
          </a:prstGeom>
        </p:spPr>
      </p:pic>
      <p:cxnSp>
        <p:nvCxnSpPr>
          <p:cNvPr id="17" name="Straight Arrow Connector 16"/>
          <p:cNvCxnSpPr/>
          <p:nvPr/>
        </p:nvCxnSpPr>
        <p:spPr>
          <a:xfrm>
            <a:off x="9696333" y="687251"/>
            <a:ext cx="325623" cy="0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endCxn id="11" idx="2"/>
          </p:cNvCxnSpPr>
          <p:nvPr/>
        </p:nvCxnSpPr>
        <p:spPr>
          <a:xfrm>
            <a:off x="10842468" y="687251"/>
            <a:ext cx="325623" cy="0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-1" y="1695454"/>
            <a:ext cx="5626398" cy="43869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71688" y="2134598"/>
            <a:ext cx="5287416" cy="3508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65138" indent="-465138">
              <a:spcAft>
                <a:spcPts val="1800"/>
              </a:spcAft>
              <a:buFont typeface="Wingdings" panose="05000000000000000000" pitchFamily="2" charset="2"/>
              <a:buChar char="þ"/>
            </a:pPr>
            <a:r>
              <a:rPr lang="en-US" sz="2400" dirty="0">
                <a:solidFill>
                  <a:prstClr val="black"/>
                </a:solidFill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Learnings applied directly to teaching in the classroom </a:t>
            </a:r>
          </a:p>
          <a:p>
            <a:pPr marL="465138" indent="-465138">
              <a:spcAft>
                <a:spcPts val="1800"/>
              </a:spcAft>
              <a:buFont typeface="Wingdings" panose="05000000000000000000" pitchFamily="2" charset="2"/>
              <a:buChar char="þ"/>
            </a:pPr>
            <a:r>
              <a:rPr lang="en-US" sz="2400" dirty="0" smtClean="0">
                <a:solidFill>
                  <a:prstClr val="black"/>
                </a:solidFill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K-12 student </a:t>
            </a:r>
            <a:r>
              <a:rPr lang="en-US" sz="2400" dirty="0">
                <a:solidFill>
                  <a:prstClr val="black"/>
                </a:solidFill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ata analyzed to inform instruction and continuously improve performance</a:t>
            </a:r>
          </a:p>
          <a:p>
            <a:pPr marL="465138" indent="-465138">
              <a:spcAft>
                <a:spcPts val="1800"/>
              </a:spcAft>
              <a:buFont typeface="Wingdings" panose="05000000000000000000" pitchFamily="2" charset="2"/>
              <a:buChar char="þ"/>
            </a:pPr>
            <a:r>
              <a:rPr lang="en-US" sz="2400" dirty="0">
                <a:solidFill>
                  <a:prstClr val="black"/>
                </a:solidFill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eachers drive </a:t>
            </a:r>
            <a:r>
              <a:rPr lang="en-US" sz="2400" dirty="0" smtClean="0">
                <a:solidFill>
                  <a:prstClr val="black"/>
                </a:solidFill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K-12 student </a:t>
            </a:r>
            <a:r>
              <a:rPr lang="en-US" sz="2400" dirty="0">
                <a:solidFill>
                  <a:prstClr val="black"/>
                </a:solidFill>
                <a:latin typeface="Calibri" panose="020F050202020403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uccess in academics and personal character development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6397" y="1695454"/>
            <a:ext cx="6580414" cy="4386943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15</a:t>
            </a:fld>
            <a:endParaRPr>
              <a:solidFill>
                <a:srgbClr val="81848A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8875821" y="275771"/>
            <a:ext cx="820512" cy="822960"/>
            <a:chOff x="8875821" y="275771"/>
            <a:chExt cx="820512" cy="822960"/>
          </a:xfrm>
          <a:solidFill>
            <a:schemeClr val="bg1">
              <a:lumMod val="85000"/>
            </a:schemeClr>
          </a:solidFill>
        </p:grpSpPr>
        <p:sp>
          <p:nvSpPr>
            <p:cNvPr id="19" name="Oval 18"/>
            <p:cNvSpPr/>
            <p:nvPr/>
          </p:nvSpPr>
          <p:spPr>
            <a:xfrm>
              <a:off x="8875821" y="275771"/>
              <a:ext cx="820512" cy="82296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31581" y="432755"/>
              <a:ext cx="508991" cy="508991"/>
            </a:xfrm>
            <a:prstGeom prst="rect">
              <a:avLst/>
            </a:prstGeom>
            <a:grpFill/>
          </p:spPr>
        </p:pic>
      </p:grpSp>
      <p:grpSp>
        <p:nvGrpSpPr>
          <p:cNvPr id="21" name="Group 20"/>
          <p:cNvGrpSpPr/>
          <p:nvPr/>
        </p:nvGrpSpPr>
        <p:grpSpPr>
          <a:xfrm>
            <a:off x="10096368" y="248334"/>
            <a:ext cx="820512" cy="822960"/>
            <a:chOff x="10021956" y="275771"/>
            <a:chExt cx="820512" cy="822960"/>
          </a:xfrm>
          <a:solidFill>
            <a:schemeClr val="bg1">
              <a:lumMod val="85000"/>
            </a:schemeClr>
          </a:solidFill>
        </p:grpSpPr>
        <p:sp>
          <p:nvSpPr>
            <p:cNvPr id="24" name="Oval 23"/>
            <p:cNvSpPr/>
            <p:nvPr/>
          </p:nvSpPr>
          <p:spPr>
            <a:xfrm>
              <a:off x="10021956" y="275771"/>
              <a:ext cx="820512" cy="82296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0175099" y="415951"/>
              <a:ext cx="589381" cy="559746"/>
              <a:chOff x="5675332" y="3055593"/>
              <a:chExt cx="911541" cy="865707"/>
            </a:xfrm>
            <a:grpFill/>
          </p:grpSpPr>
          <p:pic>
            <p:nvPicPr>
              <p:cNvPr id="26" name="Picture 25"/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7277"/>
              <a:stretch/>
            </p:blipFill>
            <p:spPr>
              <a:xfrm>
                <a:off x="5675332" y="3055593"/>
                <a:ext cx="764672" cy="479621"/>
              </a:xfrm>
              <a:prstGeom prst="rect">
                <a:avLst/>
              </a:prstGeom>
              <a:grpFill/>
            </p:spPr>
          </p:pic>
          <p:sp>
            <p:nvSpPr>
              <p:cNvPr id="27" name="Oval 26"/>
              <p:cNvSpPr/>
              <p:nvPr/>
            </p:nvSpPr>
            <p:spPr>
              <a:xfrm>
                <a:off x="5739166" y="3617031"/>
                <a:ext cx="109181" cy="109181"/>
              </a:xfrm>
              <a:prstGeom prst="ellipse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8" name="Chord 27"/>
              <p:cNvSpPr>
                <a:spLocks noChangeAspect="1"/>
              </p:cNvSpPr>
              <p:nvPr/>
            </p:nvSpPr>
            <p:spPr>
              <a:xfrm rot="6692439">
                <a:off x="5711844" y="3734475"/>
                <a:ext cx="169931" cy="169931"/>
              </a:xfrm>
              <a:prstGeom prst="chord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Oval 28"/>
              <p:cNvSpPr/>
              <p:nvPr/>
            </p:nvSpPr>
            <p:spPr>
              <a:xfrm>
                <a:off x="5915058" y="3617031"/>
                <a:ext cx="109181" cy="109181"/>
              </a:xfrm>
              <a:prstGeom prst="ellipse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Chord 29"/>
              <p:cNvSpPr>
                <a:spLocks noChangeAspect="1"/>
              </p:cNvSpPr>
              <p:nvPr/>
            </p:nvSpPr>
            <p:spPr>
              <a:xfrm rot="6692439">
                <a:off x="5887736" y="3734476"/>
                <a:ext cx="169931" cy="169931"/>
              </a:xfrm>
              <a:prstGeom prst="chord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Oval 30"/>
              <p:cNvSpPr/>
              <p:nvPr/>
            </p:nvSpPr>
            <p:spPr>
              <a:xfrm>
                <a:off x="6106226" y="3546756"/>
                <a:ext cx="144885" cy="144885"/>
              </a:xfrm>
              <a:prstGeom prst="ellipse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Chord 31"/>
              <p:cNvSpPr>
                <a:spLocks noChangeAspect="1"/>
              </p:cNvSpPr>
              <p:nvPr/>
            </p:nvSpPr>
            <p:spPr>
              <a:xfrm rot="6692439">
                <a:off x="6069970" y="3695799"/>
                <a:ext cx="225501" cy="225501"/>
              </a:xfrm>
              <a:prstGeom prst="chord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Oval Callout 32"/>
              <p:cNvSpPr/>
              <p:nvPr/>
            </p:nvSpPr>
            <p:spPr>
              <a:xfrm>
                <a:off x="6316909" y="3452522"/>
                <a:ext cx="269964" cy="197177"/>
              </a:xfrm>
              <a:prstGeom prst="wedgeEllipseCallout">
                <a:avLst>
                  <a:gd name="adj1" fmla="val -44127"/>
                  <a:gd name="adj2" fmla="val 56122"/>
                </a:avLst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34" name="TextBox 33"/>
          <p:cNvSpPr txBox="1"/>
          <p:nvPr/>
        </p:nvSpPr>
        <p:spPr>
          <a:xfrm>
            <a:off x="4831307" y="6470674"/>
            <a:ext cx="281143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756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0" y="2688454"/>
            <a:ext cx="5234151" cy="823374"/>
          </a:xfrm>
        </p:spPr>
        <p:txBody>
          <a:bodyPr>
            <a:normAutofit/>
          </a:bodyPr>
          <a:lstStyle/>
          <a:p>
            <a:r>
              <a:rPr lang="en-US" dirty="0" smtClean="0">
                <a:latin typeface="Calibri" panose="020F0502020204030204" pitchFamily="34" charset="0"/>
              </a:rPr>
              <a:t>What It Will Take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45925" y="6510338"/>
            <a:ext cx="346075" cy="254000"/>
          </a:xfrm>
        </p:spPr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16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831307" y="6470674"/>
            <a:ext cx="281143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428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444" y="3289602"/>
            <a:ext cx="1139396" cy="1139392"/>
          </a:xfrm>
          <a:prstGeom prst="rect">
            <a:avLst/>
          </a:prstGeom>
        </p:spPr>
      </p:pic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17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" y="316314"/>
            <a:ext cx="6032310" cy="823374"/>
          </a:xfrm>
        </p:spPr>
        <p:txBody>
          <a:bodyPr>
            <a:normAutofit/>
          </a:bodyPr>
          <a:lstStyle/>
          <a:p>
            <a:r>
              <a:rPr lang="en-US" sz="4000" dirty="0" smtClean="0">
                <a:latin typeface="Calibri" panose="020F0502020204030204" pitchFamily="34" charset="0"/>
              </a:rPr>
              <a:t>Focus on Retention</a:t>
            </a:r>
            <a:endParaRPr lang="en-US" sz="4000" dirty="0">
              <a:latin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40535" y="1395445"/>
            <a:ext cx="108170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prstClr val="black"/>
                </a:solidFill>
                <a:latin typeface="Calibri" panose="020F0502020204030204" pitchFamily="34" charset="0"/>
              </a:rPr>
              <a:t>Almost all new teachers leave the profession </a:t>
            </a:r>
            <a:r>
              <a:rPr lang="en-US" sz="2400" dirty="0">
                <a:solidFill>
                  <a:srgbClr val="B30838"/>
                </a:solidFill>
                <a:latin typeface="Calibri" panose="020F0502020204030204" pitchFamily="34" charset="0"/>
              </a:rPr>
              <a:t>within five years</a:t>
            </a:r>
            <a:r>
              <a:rPr lang="en-US" sz="2400" dirty="0" smtClean="0">
                <a:solidFill>
                  <a:prstClr val="black"/>
                </a:solidFill>
                <a:latin typeface="Calibri" panose="020F0502020204030204" pitchFamily="34" charset="0"/>
              </a:rPr>
              <a:t>.</a:t>
            </a:r>
            <a:endParaRPr lang="en-US" sz="24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220525" y="3105839"/>
            <a:ext cx="4711785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prstClr val="black"/>
                </a:solidFill>
                <a:latin typeface="Calibri" panose="020F0502020204030204" pitchFamily="34" charset="0"/>
              </a:rPr>
              <a:t>Schools in low-income communities have </a:t>
            </a:r>
            <a:r>
              <a:rPr lang="en-US" sz="2400" dirty="0">
                <a:solidFill>
                  <a:srgbClr val="B30838"/>
                </a:solidFill>
                <a:latin typeface="Calibri" panose="020F0502020204030204" pitchFamily="34" charset="0"/>
              </a:rPr>
              <a:t>DOUBLE</a:t>
            </a:r>
            <a:r>
              <a:rPr lang="en-US" sz="2400" dirty="0">
                <a:solidFill>
                  <a:prstClr val="black"/>
                </a:solidFill>
                <a:latin typeface="Calibri" panose="020F0502020204030204" pitchFamily="34" charset="0"/>
              </a:rPr>
              <a:t> the turnover rate of schools in high-income communities.</a:t>
            </a:r>
          </a:p>
          <a:p>
            <a:endParaRPr lang="en-US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pic>
        <p:nvPicPr>
          <p:cNvPr id="41986" name="Picture 2" descr="http://cdn2.hubspot.net/hub/365361/file-2341071914-png/school_building_icon.png?t=1436326069891&amp;width=15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5825" y="2526334"/>
            <a:ext cx="2665928" cy="2665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4831307" y="6470674"/>
            <a:ext cx="281143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8386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 smtClean="0">
                <a:latin typeface="Calibri" panose="020F0502020204030204" pitchFamily="34" charset="0"/>
              </a:rPr>
              <a:t>Focus on Diversity</a:t>
            </a:r>
            <a:endParaRPr lang="en-US" sz="4000" dirty="0">
              <a:latin typeface="Calibri" panose="020F0502020204030204" pitchFamily="34" charset="0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/>
          </p:nvPr>
        </p:nvGraphicFramePr>
        <p:xfrm>
          <a:off x="1016995" y="2169995"/>
          <a:ext cx="3841607" cy="4304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5958" y="2331258"/>
            <a:ext cx="5495827" cy="3667867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1349294"/>
            <a:ext cx="1177801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2400" dirty="0" smtClean="0">
                <a:solidFill>
                  <a:prstClr val="black"/>
                </a:solidFill>
                <a:latin typeface="Calibri" panose="020F0502020204030204" pitchFamily="34" charset="0"/>
              </a:rPr>
              <a:t>Through the Residency, Relay is working together with PK-12 school partners to attract local young people of color to join the teaching profession. </a:t>
            </a:r>
            <a:endParaRPr lang="en-US" sz="24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endParaRPr lang="en-US" sz="24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831307" y="6470674"/>
            <a:ext cx="281143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80302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2" y="275771"/>
            <a:ext cx="8488909" cy="711200"/>
          </a:xfrm>
          <a:prstGeom prst="rect">
            <a:avLst/>
          </a:prstGeom>
          <a:solidFill>
            <a:srgbClr val="224A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/>
            <a:r>
              <a:rPr lang="en-US" sz="3600" dirty="0" smtClean="0">
                <a:solidFill>
                  <a:prstClr val="white"/>
                </a:solidFill>
                <a:latin typeface="Calibri" panose="020F0502020204030204" pitchFamily="34" charset="0"/>
              </a:rPr>
              <a:t>Allow Principals to be </a:t>
            </a:r>
            <a:r>
              <a:rPr lang="en-US" sz="3600" u="sng" dirty="0" smtClean="0">
                <a:solidFill>
                  <a:prstClr val="white"/>
                </a:solidFill>
                <a:latin typeface="Calibri" panose="020F0502020204030204" pitchFamily="34" charset="0"/>
              </a:rPr>
              <a:t>Instructional</a:t>
            </a:r>
            <a:r>
              <a:rPr lang="en-US" sz="3600" dirty="0" smtClean="0">
                <a:solidFill>
                  <a:prstClr val="white"/>
                </a:solidFill>
                <a:latin typeface="Calibri" panose="020F0502020204030204" pitchFamily="34" charset="0"/>
              </a:rPr>
              <a:t> Leaders</a:t>
            </a:r>
            <a:endParaRPr lang="en-US" sz="36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19</a:t>
            </a:fld>
            <a:endParaRPr>
              <a:solidFill>
                <a:srgbClr val="81848A"/>
              </a:solidFill>
            </a:endParaRPr>
          </a:p>
        </p:txBody>
      </p:sp>
      <p:pic>
        <p:nvPicPr>
          <p:cNvPr id="16" name="Picture Placeholder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6" b="7876"/>
          <a:stretch>
            <a:fillRect/>
          </a:stretch>
        </p:blipFill>
        <p:spPr>
          <a:xfrm>
            <a:off x="327303" y="1624386"/>
            <a:ext cx="6391945" cy="4265929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780" y="2249758"/>
            <a:ext cx="473683" cy="47368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7132248" y="2280022"/>
            <a:ext cx="471178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Calibri" panose="020F0502020204030204" pitchFamily="34" charset="0"/>
              </a:rPr>
              <a:t>The average principal only spends </a:t>
            </a:r>
            <a:r>
              <a:rPr lang="en-US" sz="2800" b="1" dirty="0">
                <a:solidFill>
                  <a:srgbClr val="C00000"/>
                </a:solidFill>
                <a:latin typeface="Calibri" panose="020F0502020204030204" pitchFamily="34" charset="0"/>
              </a:rPr>
              <a:t>6 minutes a day </a:t>
            </a:r>
            <a:r>
              <a:rPr lang="en-US" sz="2800" dirty="0">
                <a:latin typeface="Calibri" panose="020F0502020204030204" pitchFamily="34" charset="0"/>
              </a:rPr>
              <a:t>observing and giving feedback to teachers. </a:t>
            </a:r>
            <a:endParaRPr lang="en-US" sz="280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endParaRPr lang="en-US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9167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0" y="2800290"/>
            <a:ext cx="3543300" cy="823374"/>
          </a:xfrm>
        </p:spPr>
        <p:txBody>
          <a:bodyPr/>
          <a:lstStyle/>
          <a:p>
            <a:pPr marL="114300"/>
            <a:r>
              <a:rPr lang="en-US" dirty="0" smtClean="0">
                <a:latin typeface="Calibri" panose="020F0502020204030204" pitchFamily="34" charset="0"/>
              </a:rPr>
              <a:t>About Us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845925" y="6510338"/>
            <a:ext cx="346075" cy="254000"/>
          </a:xfrm>
        </p:spPr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2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831307" y="6470674"/>
            <a:ext cx="281143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351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Rectangle 291"/>
          <p:cNvSpPr/>
          <p:nvPr/>
        </p:nvSpPr>
        <p:spPr>
          <a:xfrm>
            <a:off x="171688" y="2148116"/>
            <a:ext cx="3572998" cy="3860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93" name="Rectangle 292"/>
          <p:cNvSpPr/>
          <p:nvPr/>
        </p:nvSpPr>
        <p:spPr>
          <a:xfrm>
            <a:off x="3943601" y="2148116"/>
            <a:ext cx="4302009" cy="3860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94" name="Rectangle 293"/>
          <p:cNvSpPr/>
          <p:nvPr/>
        </p:nvSpPr>
        <p:spPr>
          <a:xfrm>
            <a:off x="8436444" y="2148116"/>
            <a:ext cx="3572998" cy="3860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-1" y="275771"/>
            <a:ext cx="8610736" cy="711200"/>
          </a:xfrm>
          <a:prstGeom prst="rect">
            <a:avLst/>
          </a:prstGeom>
          <a:solidFill>
            <a:srgbClr val="224A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/>
            <a:r>
              <a:rPr lang="en-US" sz="3200" dirty="0" smtClean="0">
                <a:solidFill>
                  <a:prstClr val="white"/>
                </a:solidFill>
                <a:latin typeface="Calibri" panose="020F0502020204030204" pitchFamily="34" charset="0"/>
              </a:rPr>
              <a:t>The Relay: From One Great Teacher to </a:t>
            </a:r>
            <a:r>
              <a:rPr lang="en-US" sz="3200" dirty="0">
                <a:solidFill>
                  <a:prstClr val="white"/>
                </a:solidFill>
                <a:latin typeface="Calibri" panose="020F0502020204030204" pitchFamily="34" charset="0"/>
              </a:rPr>
              <a:t>t</a:t>
            </a:r>
            <a:r>
              <a:rPr lang="en-US" sz="3200" dirty="0" smtClean="0">
                <a:solidFill>
                  <a:prstClr val="white"/>
                </a:solidFill>
                <a:latin typeface="Calibri" panose="020F0502020204030204" pitchFamily="34" charset="0"/>
              </a:rPr>
              <a:t>he Next</a:t>
            </a:r>
            <a:endParaRPr lang="en-US" sz="32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71688" y="1323918"/>
            <a:ext cx="1183775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100" dirty="0" smtClean="0">
                <a:latin typeface="Calibri" panose="020F0502020204030204" pitchFamily="34" charset="0"/>
              </a:rPr>
              <a:t>By recruiting, preparing, and supporting great educators at all levels, we will ensure that many more PK-12 students receive a high-quality education.  </a:t>
            </a:r>
            <a:endParaRPr lang="en-US" sz="2100" dirty="0">
              <a:latin typeface="Calibri" panose="020F0502020204030204" pitchFamily="34" charset="0"/>
            </a:endParaRPr>
          </a:p>
        </p:txBody>
      </p:sp>
      <p:grpSp>
        <p:nvGrpSpPr>
          <p:cNvPr id="291" name="Group 290"/>
          <p:cNvGrpSpPr>
            <a:grpSpLocks noChangeAspect="1"/>
          </p:cNvGrpSpPr>
          <p:nvPr/>
        </p:nvGrpSpPr>
        <p:grpSpPr>
          <a:xfrm>
            <a:off x="426950" y="3233137"/>
            <a:ext cx="2978534" cy="787467"/>
            <a:chOff x="428408" y="3588643"/>
            <a:chExt cx="3112782" cy="822960"/>
          </a:xfrm>
        </p:grpSpPr>
        <p:sp>
          <p:nvSpPr>
            <p:cNvPr id="17" name="Oval 16"/>
            <p:cNvSpPr/>
            <p:nvPr/>
          </p:nvSpPr>
          <p:spPr>
            <a:xfrm>
              <a:off x="428408" y="3588643"/>
              <a:ext cx="820512" cy="8229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2720678" y="3588643"/>
              <a:ext cx="820512" cy="82296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89944" y="3729206"/>
              <a:ext cx="486960" cy="486960"/>
            </a:xfrm>
            <a:prstGeom prst="rect">
              <a:avLst/>
            </a:prstGeom>
          </p:spPr>
        </p:pic>
        <p:cxnSp>
          <p:nvCxnSpPr>
            <p:cNvPr id="22" name="Straight Arrow Connector 21"/>
            <p:cNvCxnSpPr>
              <a:stCxn id="17" idx="6"/>
            </p:cNvCxnSpPr>
            <p:nvPr/>
          </p:nvCxnSpPr>
          <p:spPr>
            <a:xfrm>
              <a:off x="1248920" y="4000123"/>
              <a:ext cx="325623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/>
            <p:cNvCxnSpPr>
              <a:endCxn id="20" idx="2"/>
            </p:cNvCxnSpPr>
            <p:nvPr/>
          </p:nvCxnSpPr>
          <p:spPr>
            <a:xfrm>
              <a:off x="2395055" y="4000123"/>
              <a:ext cx="325623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5" name="Group 294"/>
          <p:cNvGrpSpPr/>
          <p:nvPr/>
        </p:nvGrpSpPr>
        <p:grpSpPr>
          <a:xfrm>
            <a:off x="8761653" y="2535493"/>
            <a:ext cx="2930028" cy="2033802"/>
            <a:chOff x="8693998" y="3091543"/>
            <a:chExt cx="2930028" cy="2033802"/>
          </a:xfrm>
        </p:grpSpPr>
        <p:grpSp>
          <p:nvGrpSpPr>
            <p:cNvPr id="64" name="Group 63"/>
            <p:cNvGrpSpPr>
              <a:grpSpLocks noChangeAspect="1"/>
            </p:cNvGrpSpPr>
            <p:nvPr/>
          </p:nvGrpSpPr>
          <p:grpSpPr>
            <a:xfrm>
              <a:off x="8693998" y="3091543"/>
              <a:ext cx="2930028" cy="2033802"/>
              <a:chOff x="1884582" y="1007573"/>
              <a:chExt cx="6118544" cy="4247027"/>
            </a:xfrm>
            <a:solidFill>
              <a:schemeClr val="accent2">
                <a:lumMod val="40000"/>
                <a:lumOff val="60000"/>
              </a:schemeClr>
            </a:solidFill>
          </p:grpSpPr>
          <p:sp>
            <p:nvSpPr>
              <p:cNvPr id="79" name="Freeform 6"/>
              <p:cNvSpPr>
                <a:spLocks/>
              </p:cNvSpPr>
              <p:nvPr/>
            </p:nvSpPr>
            <p:spPr bwMode="auto">
              <a:xfrm>
                <a:off x="5854048" y="2868446"/>
                <a:ext cx="876663" cy="485892"/>
              </a:xfrm>
              <a:custGeom>
                <a:avLst/>
                <a:gdLst/>
                <a:ahLst/>
                <a:cxnLst>
                  <a:cxn ang="0">
                    <a:pos x="630" y="82"/>
                  </a:cxn>
                  <a:cxn ang="0">
                    <a:pos x="616" y="40"/>
                  </a:cxn>
                  <a:cxn ang="0">
                    <a:pos x="592" y="24"/>
                  </a:cxn>
                  <a:cxn ang="0">
                    <a:pos x="502" y="36"/>
                  </a:cxn>
                  <a:cxn ang="0">
                    <a:pos x="396" y="0"/>
                  </a:cxn>
                  <a:cxn ang="0">
                    <a:pos x="400" y="12"/>
                  </a:cxn>
                  <a:cxn ang="0">
                    <a:pos x="360" y="52"/>
                  </a:cxn>
                  <a:cxn ang="0">
                    <a:pos x="310" y="162"/>
                  </a:cxn>
                  <a:cxn ang="0">
                    <a:pos x="280" y="148"/>
                  </a:cxn>
                  <a:cxn ang="0">
                    <a:pos x="200" y="204"/>
                  </a:cxn>
                  <a:cxn ang="0">
                    <a:pos x="176" y="188"/>
                  </a:cxn>
                  <a:cxn ang="0">
                    <a:pos x="122" y="232"/>
                  </a:cxn>
                  <a:cxn ang="0">
                    <a:pos x="122" y="228"/>
                  </a:cxn>
                  <a:cxn ang="0">
                    <a:pos x="176" y="184"/>
                  </a:cxn>
                  <a:cxn ang="0">
                    <a:pos x="122" y="224"/>
                  </a:cxn>
                  <a:cxn ang="0">
                    <a:pos x="118" y="256"/>
                  </a:cxn>
                  <a:cxn ang="0">
                    <a:pos x="76" y="312"/>
                  </a:cxn>
                  <a:cxn ang="0">
                    <a:pos x="26" y="286"/>
                  </a:cxn>
                  <a:cxn ang="0">
                    <a:pos x="4" y="330"/>
                  </a:cxn>
                  <a:cxn ang="0">
                    <a:pos x="0" y="322"/>
                  </a:cxn>
                  <a:cxn ang="0">
                    <a:pos x="6" y="378"/>
                  </a:cxn>
                  <a:cxn ang="0">
                    <a:pos x="26" y="376"/>
                  </a:cxn>
                  <a:cxn ang="0">
                    <a:pos x="306" y="330"/>
                  </a:cxn>
                  <a:cxn ang="0">
                    <a:pos x="568" y="276"/>
                  </a:cxn>
                  <a:cxn ang="0">
                    <a:pos x="632" y="202"/>
                  </a:cxn>
                  <a:cxn ang="0">
                    <a:pos x="682" y="104"/>
                  </a:cxn>
                  <a:cxn ang="0">
                    <a:pos x="630" y="82"/>
                  </a:cxn>
                </a:cxnLst>
                <a:rect l="0" t="0" r="r" b="b"/>
                <a:pathLst>
                  <a:path w="682" h="378">
                    <a:moveTo>
                      <a:pt x="630" y="82"/>
                    </a:moveTo>
                    <a:lnTo>
                      <a:pt x="616" y="40"/>
                    </a:lnTo>
                    <a:lnTo>
                      <a:pt x="592" y="24"/>
                    </a:lnTo>
                    <a:lnTo>
                      <a:pt x="502" y="36"/>
                    </a:lnTo>
                    <a:lnTo>
                      <a:pt x="396" y="0"/>
                    </a:lnTo>
                    <a:lnTo>
                      <a:pt x="400" y="12"/>
                    </a:lnTo>
                    <a:lnTo>
                      <a:pt x="360" y="52"/>
                    </a:lnTo>
                    <a:lnTo>
                      <a:pt x="310" y="162"/>
                    </a:lnTo>
                    <a:lnTo>
                      <a:pt x="280" y="148"/>
                    </a:lnTo>
                    <a:lnTo>
                      <a:pt x="200" y="204"/>
                    </a:lnTo>
                    <a:lnTo>
                      <a:pt x="176" y="188"/>
                    </a:lnTo>
                    <a:lnTo>
                      <a:pt x="122" y="232"/>
                    </a:lnTo>
                    <a:lnTo>
                      <a:pt x="122" y="228"/>
                    </a:lnTo>
                    <a:lnTo>
                      <a:pt x="176" y="184"/>
                    </a:lnTo>
                    <a:lnTo>
                      <a:pt x="122" y="224"/>
                    </a:lnTo>
                    <a:lnTo>
                      <a:pt x="118" y="256"/>
                    </a:lnTo>
                    <a:lnTo>
                      <a:pt x="76" y="312"/>
                    </a:lnTo>
                    <a:lnTo>
                      <a:pt x="26" y="286"/>
                    </a:lnTo>
                    <a:lnTo>
                      <a:pt x="4" y="330"/>
                    </a:lnTo>
                    <a:lnTo>
                      <a:pt x="0" y="322"/>
                    </a:lnTo>
                    <a:lnTo>
                      <a:pt x="6" y="378"/>
                    </a:lnTo>
                    <a:lnTo>
                      <a:pt x="26" y="376"/>
                    </a:lnTo>
                    <a:lnTo>
                      <a:pt x="306" y="330"/>
                    </a:lnTo>
                    <a:lnTo>
                      <a:pt x="568" y="276"/>
                    </a:lnTo>
                    <a:lnTo>
                      <a:pt x="632" y="202"/>
                    </a:lnTo>
                    <a:lnTo>
                      <a:pt x="682" y="104"/>
                    </a:lnTo>
                    <a:lnTo>
                      <a:pt x="630" y="8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0" name="Freeform 7"/>
              <p:cNvSpPr>
                <a:spLocks/>
              </p:cNvSpPr>
              <p:nvPr/>
            </p:nvSpPr>
            <p:spPr bwMode="auto">
              <a:xfrm>
                <a:off x="5115304" y="2820507"/>
                <a:ext cx="755833" cy="655569"/>
              </a:xfrm>
              <a:custGeom>
                <a:avLst/>
                <a:gdLst/>
                <a:ahLst/>
                <a:cxnLst>
                  <a:cxn ang="0">
                    <a:pos x="556" y="278"/>
                  </a:cxn>
                  <a:cxn ang="0">
                    <a:pos x="476" y="220"/>
                  </a:cxn>
                  <a:cxn ang="0">
                    <a:pos x="476" y="140"/>
                  </a:cxn>
                  <a:cxn ang="0">
                    <a:pos x="444" y="140"/>
                  </a:cxn>
                  <a:cxn ang="0">
                    <a:pos x="346" y="14"/>
                  </a:cxn>
                  <a:cxn ang="0">
                    <a:pos x="346" y="0"/>
                  </a:cxn>
                  <a:cxn ang="0">
                    <a:pos x="0" y="8"/>
                  </a:cxn>
                  <a:cxn ang="0">
                    <a:pos x="22" y="70"/>
                  </a:cxn>
                  <a:cxn ang="0">
                    <a:pos x="68" y="70"/>
                  </a:cxn>
                  <a:cxn ang="0">
                    <a:pos x="50" y="136"/>
                  </a:cxn>
                  <a:cxn ang="0">
                    <a:pos x="104" y="160"/>
                  </a:cxn>
                  <a:cxn ang="0">
                    <a:pos x="132" y="470"/>
                  </a:cxn>
                  <a:cxn ang="0">
                    <a:pos x="522" y="462"/>
                  </a:cxn>
                  <a:cxn ang="0">
                    <a:pos x="506" y="510"/>
                  </a:cxn>
                  <a:cxn ang="0">
                    <a:pos x="586" y="504"/>
                  </a:cxn>
                  <a:cxn ang="0">
                    <a:pos x="586" y="410"/>
                  </a:cxn>
                  <a:cxn ang="0">
                    <a:pos x="588" y="408"/>
                  </a:cxn>
                  <a:cxn ang="0">
                    <a:pos x="582" y="352"/>
                  </a:cxn>
                  <a:cxn ang="0">
                    <a:pos x="556" y="278"/>
                  </a:cxn>
                </a:cxnLst>
                <a:rect l="0" t="0" r="r" b="b"/>
                <a:pathLst>
                  <a:path w="588" h="510">
                    <a:moveTo>
                      <a:pt x="556" y="278"/>
                    </a:moveTo>
                    <a:lnTo>
                      <a:pt x="476" y="220"/>
                    </a:lnTo>
                    <a:lnTo>
                      <a:pt x="476" y="140"/>
                    </a:lnTo>
                    <a:lnTo>
                      <a:pt x="444" y="140"/>
                    </a:lnTo>
                    <a:lnTo>
                      <a:pt x="346" y="14"/>
                    </a:lnTo>
                    <a:lnTo>
                      <a:pt x="346" y="0"/>
                    </a:lnTo>
                    <a:lnTo>
                      <a:pt x="0" y="8"/>
                    </a:lnTo>
                    <a:lnTo>
                      <a:pt x="22" y="70"/>
                    </a:lnTo>
                    <a:lnTo>
                      <a:pt x="68" y="70"/>
                    </a:lnTo>
                    <a:lnTo>
                      <a:pt x="50" y="136"/>
                    </a:lnTo>
                    <a:lnTo>
                      <a:pt x="104" y="160"/>
                    </a:lnTo>
                    <a:lnTo>
                      <a:pt x="132" y="470"/>
                    </a:lnTo>
                    <a:lnTo>
                      <a:pt x="522" y="462"/>
                    </a:lnTo>
                    <a:lnTo>
                      <a:pt x="506" y="510"/>
                    </a:lnTo>
                    <a:lnTo>
                      <a:pt x="586" y="504"/>
                    </a:lnTo>
                    <a:lnTo>
                      <a:pt x="586" y="410"/>
                    </a:lnTo>
                    <a:lnTo>
                      <a:pt x="588" y="408"/>
                    </a:lnTo>
                    <a:lnTo>
                      <a:pt x="582" y="352"/>
                    </a:lnTo>
                    <a:lnTo>
                      <a:pt x="556" y="27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1" name="Freeform 80"/>
              <p:cNvSpPr>
                <a:spLocks/>
              </p:cNvSpPr>
              <p:nvPr/>
            </p:nvSpPr>
            <p:spPr bwMode="auto">
              <a:xfrm>
                <a:off x="5304037" y="1729571"/>
                <a:ext cx="646996" cy="751772"/>
              </a:xfrm>
              <a:custGeom>
                <a:avLst/>
                <a:gdLst/>
                <a:ahLst/>
                <a:cxnLst>
                  <a:cxn ang="0">
                    <a:pos x="404" y="538"/>
                  </a:cxn>
                  <a:cxn ang="0">
                    <a:pos x="490" y="542"/>
                  </a:cxn>
                  <a:cxn ang="0">
                    <a:pos x="464" y="400"/>
                  </a:cxn>
                  <a:cxn ang="0">
                    <a:pos x="494" y="172"/>
                  </a:cxn>
                  <a:cxn ang="0">
                    <a:pos x="446" y="160"/>
                  </a:cxn>
                  <a:cxn ang="0">
                    <a:pos x="414" y="160"/>
                  </a:cxn>
                  <a:cxn ang="0">
                    <a:pos x="404" y="122"/>
                  </a:cxn>
                  <a:cxn ang="0">
                    <a:pos x="196" y="96"/>
                  </a:cxn>
                  <a:cxn ang="0">
                    <a:pos x="174" y="38"/>
                  </a:cxn>
                  <a:cxn ang="0">
                    <a:pos x="146" y="38"/>
                  </a:cxn>
                  <a:cxn ang="0">
                    <a:pos x="146" y="0"/>
                  </a:cxn>
                  <a:cxn ang="0">
                    <a:pos x="78" y="24"/>
                  </a:cxn>
                  <a:cxn ang="0">
                    <a:pos x="36" y="116"/>
                  </a:cxn>
                  <a:cxn ang="0">
                    <a:pos x="0" y="158"/>
                  </a:cxn>
                  <a:cxn ang="0">
                    <a:pos x="28" y="292"/>
                  </a:cxn>
                  <a:cxn ang="0">
                    <a:pos x="166" y="374"/>
                  </a:cxn>
                  <a:cxn ang="0">
                    <a:pos x="194" y="508"/>
                  </a:cxn>
                  <a:cxn ang="0">
                    <a:pos x="264" y="574"/>
                  </a:cxn>
                  <a:cxn ang="0">
                    <a:pos x="352" y="568"/>
                  </a:cxn>
                  <a:cxn ang="0">
                    <a:pos x="404" y="538"/>
                  </a:cxn>
                </a:cxnLst>
                <a:rect l="0" t="0" r="r" b="b"/>
                <a:pathLst>
                  <a:path w="494" h="574">
                    <a:moveTo>
                      <a:pt x="404" y="538"/>
                    </a:moveTo>
                    <a:lnTo>
                      <a:pt x="490" y="542"/>
                    </a:lnTo>
                    <a:lnTo>
                      <a:pt x="464" y="400"/>
                    </a:lnTo>
                    <a:lnTo>
                      <a:pt x="494" y="172"/>
                    </a:lnTo>
                    <a:lnTo>
                      <a:pt x="446" y="160"/>
                    </a:lnTo>
                    <a:lnTo>
                      <a:pt x="414" y="160"/>
                    </a:lnTo>
                    <a:lnTo>
                      <a:pt x="404" y="122"/>
                    </a:lnTo>
                    <a:lnTo>
                      <a:pt x="196" y="96"/>
                    </a:lnTo>
                    <a:lnTo>
                      <a:pt x="174" y="38"/>
                    </a:lnTo>
                    <a:lnTo>
                      <a:pt x="146" y="38"/>
                    </a:lnTo>
                    <a:lnTo>
                      <a:pt x="146" y="0"/>
                    </a:lnTo>
                    <a:lnTo>
                      <a:pt x="78" y="24"/>
                    </a:lnTo>
                    <a:lnTo>
                      <a:pt x="36" y="116"/>
                    </a:lnTo>
                    <a:lnTo>
                      <a:pt x="0" y="158"/>
                    </a:lnTo>
                    <a:lnTo>
                      <a:pt x="28" y="292"/>
                    </a:lnTo>
                    <a:lnTo>
                      <a:pt x="166" y="374"/>
                    </a:lnTo>
                    <a:lnTo>
                      <a:pt x="194" y="508"/>
                    </a:lnTo>
                    <a:lnTo>
                      <a:pt x="264" y="574"/>
                    </a:lnTo>
                    <a:lnTo>
                      <a:pt x="352" y="568"/>
                    </a:lnTo>
                    <a:lnTo>
                      <a:pt x="404" y="53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2" name="Freeform 81"/>
              <p:cNvSpPr>
                <a:spLocks/>
              </p:cNvSpPr>
              <p:nvPr/>
            </p:nvSpPr>
            <p:spPr bwMode="auto">
              <a:xfrm>
                <a:off x="5558120" y="2434193"/>
                <a:ext cx="492450" cy="861788"/>
              </a:xfrm>
              <a:custGeom>
                <a:avLst/>
                <a:gdLst/>
                <a:ahLst/>
                <a:cxnLst>
                  <a:cxn ang="0">
                    <a:pos x="336" y="64"/>
                  </a:cxn>
                  <a:cxn ang="0">
                    <a:pos x="300" y="26"/>
                  </a:cxn>
                  <a:cxn ang="0">
                    <a:pos x="296" y="4"/>
                  </a:cxn>
                  <a:cxn ang="0">
                    <a:pos x="210" y="0"/>
                  </a:cxn>
                  <a:cxn ang="0">
                    <a:pos x="158" y="30"/>
                  </a:cxn>
                  <a:cxn ang="0">
                    <a:pos x="70" y="36"/>
                  </a:cxn>
                  <a:cxn ang="0">
                    <a:pos x="78" y="96"/>
                  </a:cxn>
                  <a:cxn ang="0">
                    <a:pos x="22" y="162"/>
                  </a:cxn>
                  <a:cxn ang="0">
                    <a:pos x="42" y="202"/>
                  </a:cxn>
                  <a:cxn ang="0">
                    <a:pos x="0" y="272"/>
                  </a:cxn>
                  <a:cxn ang="0">
                    <a:pos x="0" y="320"/>
                  </a:cxn>
                  <a:cxn ang="0">
                    <a:pos x="96" y="442"/>
                  </a:cxn>
                  <a:cxn ang="0">
                    <a:pos x="130" y="442"/>
                  </a:cxn>
                  <a:cxn ang="0">
                    <a:pos x="130" y="526"/>
                  </a:cxn>
                  <a:cxn ang="0">
                    <a:pos x="208" y="580"/>
                  </a:cxn>
                  <a:cxn ang="0">
                    <a:pos x="236" y="658"/>
                  </a:cxn>
                  <a:cxn ang="0">
                    <a:pos x="258" y="616"/>
                  </a:cxn>
                  <a:cxn ang="0">
                    <a:pos x="308" y="644"/>
                  </a:cxn>
                  <a:cxn ang="0">
                    <a:pos x="348" y="592"/>
                  </a:cxn>
                  <a:cxn ang="0">
                    <a:pos x="356" y="510"/>
                  </a:cxn>
                  <a:cxn ang="0">
                    <a:pos x="376" y="428"/>
                  </a:cxn>
                  <a:cxn ang="0">
                    <a:pos x="336" y="64"/>
                  </a:cxn>
                </a:cxnLst>
                <a:rect l="0" t="0" r="r" b="b"/>
                <a:pathLst>
                  <a:path w="376" h="658">
                    <a:moveTo>
                      <a:pt x="336" y="64"/>
                    </a:moveTo>
                    <a:lnTo>
                      <a:pt x="300" y="26"/>
                    </a:lnTo>
                    <a:lnTo>
                      <a:pt x="296" y="4"/>
                    </a:lnTo>
                    <a:lnTo>
                      <a:pt x="210" y="0"/>
                    </a:lnTo>
                    <a:lnTo>
                      <a:pt x="158" y="30"/>
                    </a:lnTo>
                    <a:lnTo>
                      <a:pt x="70" y="36"/>
                    </a:lnTo>
                    <a:lnTo>
                      <a:pt x="78" y="96"/>
                    </a:lnTo>
                    <a:lnTo>
                      <a:pt x="22" y="162"/>
                    </a:lnTo>
                    <a:lnTo>
                      <a:pt x="42" y="202"/>
                    </a:lnTo>
                    <a:lnTo>
                      <a:pt x="0" y="272"/>
                    </a:lnTo>
                    <a:lnTo>
                      <a:pt x="0" y="320"/>
                    </a:lnTo>
                    <a:lnTo>
                      <a:pt x="96" y="442"/>
                    </a:lnTo>
                    <a:lnTo>
                      <a:pt x="130" y="442"/>
                    </a:lnTo>
                    <a:lnTo>
                      <a:pt x="130" y="526"/>
                    </a:lnTo>
                    <a:lnTo>
                      <a:pt x="208" y="580"/>
                    </a:lnTo>
                    <a:lnTo>
                      <a:pt x="236" y="658"/>
                    </a:lnTo>
                    <a:lnTo>
                      <a:pt x="258" y="616"/>
                    </a:lnTo>
                    <a:lnTo>
                      <a:pt x="308" y="644"/>
                    </a:lnTo>
                    <a:lnTo>
                      <a:pt x="348" y="592"/>
                    </a:lnTo>
                    <a:lnTo>
                      <a:pt x="356" y="510"/>
                    </a:lnTo>
                    <a:lnTo>
                      <a:pt x="376" y="428"/>
                    </a:lnTo>
                    <a:lnTo>
                      <a:pt x="336" y="6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3" name="Freeform 3053"/>
              <p:cNvSpPr>
                <a:spLocks/>
              </p:cNvSpPr>
              <p:nvPr/>
            </p:nvSpPr>
            <p:spPr bwMode="auto">
              <a:xfrm>
                <a:off x="7360329" y="1614373"/>
                <a:ext cx="128559" cy="49109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6" y="312"/>
                  </a:cxn>
                  <a:cxn ang="0">
                    <a:pos x="100" y="382"/>
                  </a:cxn>
                  <a:cxn ang="0">
                    <a:pos x="94" y="324"/>
                  </a:cxn>
                  <a:cxn ang="0">
                    <a:pos x="30" y="98"/>
                  </a:cxn>
                  <a:cxn ang="0">
                    <a:pos x="0" y="0"/>
                  </a:cxn>
                </a:cxnLst>
                <a:rect l="0" t="0" r="r" b="b"/>
                <a:pathLst>
                  <a:path w="100" h="382">
                    <a:moveTo>
                      <a:pt x="0" y="0"/>
                    </a:moveTo>
                    <a:lnTo>
                      <a:pt x="86" y="312"/>
                    </a:lnTo>
                    <a:lnTo>
                      <a:pt x="100" y="382"/>
                    </a:lnTo>
                    <a:lnTo>
                      <a:pt x="94" y="324"/>
                    </a:lnTo>
                    <a:lnTo>
                      <a:pt x="30" y="9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4" name="Freeform 3054"/>
              <p:cNvSpPr>
                <a:spLocks/>
              </p:cNvSpPr>
              <p:nvPr/>
            </p:nvSpPr>
            <p:spPr bwMode="auto">
              <a:xfrm>
                <a:off x="6792096" y="1570663"/>
                <a:ext cx="771357" cy="701935"/>
              </a:xfrm>
              <a:custGeom>
                <a:avLst/>
                <a:gdLst/>
                <a:ahLst/>
                <a:cxnLst>
                  <a:cxn ang="0">
                    <a:pos x="546" y="442"/>
                  </a:cxn>
                  <a:cxn ang="0">
                    <a:pos x="542" y="416"/>
                  </a:cxn>
                  <a:cxn ang="0">
                    <a:pos x="528" y="346"/>
                  </a:cxn>
                  <a:cxn ang="0">
                    <a:pos x="442" y="34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308" y="48"/>
                  </a:cxn>
                  <a:cxn ang="0">
                    <a:pos x="238" y="208"/>
                  </a:cxn>
                  <a:cxn ang="0">
                    <a:pos x="246" y="234"/>
                  </a:cxn>
                  <a:cxn ang="0">
                    <a:pos x="216" y="290"/>
                  </a:cxn>
                  <a:cxn ang="0">
                    <a:pos x="84" y="318"/>
                  </a:cxn>
                  <a:cxn ang="0">
                    <a:pos x="46" y="398"/>
                  </a:cxn>
                  <a:cxn ang="0">
                    <a:pos x="58" y="426"/>
                  </a:cxn>
                  <a:cxn ang="0">
                    <a:pos x="0" y="494"/>
                  </a:cxn>
                  <a:cxn ang="0">
                    <a:pos x="16" y="546"/>
                  </a:cxn>
                  <a:cxn ang="0">
                    <a:pos x="380" y="426"/>
                  </a:cxn>
                  <a:cxn ang="0">
                    <a:pos x="456" y="492"/>
                  </a:cxn>
                  <a:cxn ang="0">
                    <a:pos x="478" y="498"/>
                  </a:cxn>
                  <a:cxn ang="0">
                    <a:pos x="588" y="522"/>
                  </a:cxn>
                  <a:cxn ang="0">
                    <a:pos x="600" y="496"/>
                  </a:cxn>
                  <a:cxn ang="0">
                    <a:pos x="594" y="490"/>
                  </a:cxn>
                  <a:cxn ang="0">
                    <a:pos x="546" y="442"/>
                  </a:cxn>
                </a:cxnLst>
                <a:rect l="0" t="0" r="r" b="b"/>
                <a:pathLst>
                  <a:path w="600" h="546">
                    <a:moveTo>
                      <a:pt x="546" y="442"/>
                    </a:moveTo>
                    <a:lnTo>
                      <a:pt x="542" y="416"/>
                    </a:lnTo>
                    <a:lnTo>
                      <a:pt x="528" y="346"/>
                    </a:lnTo>
                    <a:lnTo>
                      <a:pt x="442" y="34"/>
                    </a:lnTo>
                    <a:lnTo>
                      <a:pt x="434" y="0"/>
                    </a:lnTo>
                    <a:lnTo>
                      <a:pt x="434" y="0"/>
                    </a:lnTo>
                    <a:lnTo>
                      <a:pt x="434" y="0"/>
                    </a:lnTo>
                    <a:lnTo>
                      <a:pt x="308" y="48"/>
                    </a:lnTo>
                    <a:lnTo>
                      <a:pt x="238" y="208"/>
                    </a:lnTo>
                    <a:lnTo>
                      <a:pt x="246" y="234"/>
                    </a:lnTo>
                    <a:lnTo>
                      <a:pt x="216" y="290"/>
                    </a:lnTo>
                    <a:lnTo>
                      <a:pt x="84" y="318"/>
                    </a:lnTo>
                    <a:lnTo>
                      <a:pt x="46" y="398"/>
                    </a:lnTo>
                    <a:lnTo>
                      <a:pt x="58" y="426"/>
                    </a:lnTo>
                    <a:lnTo>
                      <a:pt x="0" y="494"/>
                    </a:lnTo>
                    <a:lnTo>
                      <a:pt x="16" y="546"/>
                    </a:lnTo>
                    <a:lnTo>
                      <a:pt x="380" y="426"/>
                    </a:lnTo>
                    <a:lnTo>
                      <a:pt x="456" y="492"/>
                    </a:lnTo>
                    <a:lnTo>
                      <a:pt x="478" y="498"/>
                    </a:lnTo>
                    <a:lnTo>
                      <a:pt x="588" y="522"/>
                    </a:lnTo>
                    <a:lnTo>
                      <a:pt x="600" y="496"/>
                    </a:lnTo>
                    <a:lnTo>
                      <a:pt x="594" y="490"/>
                    </a:lnTo>
                    <a:lnTo>
                      <a:pt x="546" y="44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5" name="Freeform 3055"/>
              <p:cNvSpPr>
                <a:spLocks/>
              </p:cNvSpPr>
              <p:nvPr/>
            </p:nvSpPr>
            <p:spPr bwMode="auto">
              <a:xfrm>
                <a:off x="7684299" y="1748075"/>
                <a:ext cx="51424" cy="35996"/>
              </a:xfrm>
              <a:custGeom>
                <a:avLst/>
                <a:gdLst/>
                <a:ahLst/>
                <a:cxnLst>
                  <a:cxn ang="0">
                    <a:pos x="40" y="28"/>
                  </a:cxn>
                  <a:cxn ang="0">
                    <a:pos x="40" y="24"/>
                  </a:cxn>
                  <a:cxn ang="0">
                    <a:pos x="0" y="0"/>
                  </a:cxn>
                  <a:cxn ang="0">
                    <a:pos x="40" y="28"/>
                  </a:cxn>
                </a:cxnLst>
                <a:rect l="0" t="0" r="r" b="b"/>
                <a:pathLst>
                  <a:path w="40" h="28">
                    <a:moveTo>
                      <a:pt x="40" y="28"/>
                    </a:moveTo>
                    <a:lnTo>
                      <a:pt x="40" y="24"/>
                    </a:lnTo>
                    <a:lnTo>
                      <a:pt x="0" y="0"/>
                    </a:lnTo>
                    <a:lnTo>
                      <a:pt x="40" y="2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6" name="Freeform 3056"/>
              <p:cNvSpPr>
                <a:spLocks/>
              </p:cNvSpPr>
              <p:nvPr/>
            </p:nvSpPr>
            <p:spPr bwMode="auto">
              <a:xfrm>
                <a:off x="7522314" y="1007573"/>
                <a:ext cx="480812" cy="771357"/>
              </a:xfrm>
              <a:custGeom>
                <a:avLst/>
                <a:gdLst/>
                <a:ahLst/>
                <a:cxnLst>
                  <a:cxn ang="0">
                    <a:pos x="284" y="228"/>
                  </a:cxn>
                  <a:cxn ang="0">
                    <a:pos x="244" y="202"/>
                  </a:cxn>
                  <a:cxn ang="0">
                    <a:pos x="136" y="0"/>
                  </a:cxn>
                  <a:cxn ang="0">
                    <a:pos x="84" y="68"/>
                  </a:cxn>
                  <a:cxn ang="0">
                    <a:pos x="46" y="54"/>
                  </a:cxn>
                  <a:cxn ang="0">
                    <a:pos x="46" y="228"/>
                  </a:cxn>
                  <a:cxn ang="0">
                    <a:pos x="0" y="356"/>
                  </a:cxn>
                  <a:cxn ang="0">
                    <a:pos x="126" y="576"/>
                  </a:cxn>
                  <a:cxn ang="0">
                    <a:pos x="166" y="600"/>
                  </a:cxn>
                  <a:cxn ang="0">
                    <a:pos x="166" y="540"/>
                  </a:cxn>
                  <a:cxn ang="0">
                    <a:pos x="244" y="404"/>
                  </a:cxn>
                  <a:cxn ang="0">
                    <a:pos x="294" y="378"/>
                  </a:cxn>
                  <a:cxn ang="0">
                    <a:pos x="294" y="336"/>
                  </a:cxn>
                  <a:cxn ang="0">
                    <a:pos x="374" y="202"/>
                  </a:cxn>
                  <a:cxn ang="0">
                    <a:pos x="284" y="228"/>
                  </a:cxn>
                </a:cxnLst>
                <a:rect l="0" t="0" r="r" b="b"/>
                <a:pathLst>
                  <a:path w="374" h="600">
                    <a:moveTo>
                      <a:pt x="284" y="228"/>
                    </a:moveTo>
                    <a:lnTo>
                      <a:pt x="244" y="202"/>
                    </a:lnTo>
                    <a:lnTo>
                      <a:pt x="136" y="0"/>
                    </a:lnTo>
                    <a:lnTo>
                      <a:pt x="84" y="68"/>
                    </a:lnTo>
                    <a:lnTo>
                      <a:pt x="46" y="54"/>
                    </a:lnTo>
                    <a:lnTo>
                      <a:pt x="46" y="228"/>
                    </a:lnTo>
                    <a:lnTo>
                      <a:pt x="0" y="356"/>
                    </a:lnTo>
                    <a:lnTo>
                      <a:pt x="126" y="576"/>
                    </a:lnTo>
                    <a:lnTo>
                      <a:pt x="166" y="600"/>
                    </a:lnTo>
                    <a:lnTo>
                      <a:pt x="166" y="540"/>
                    </a:lnTo>
                    <a:lnTo>
                      <a:pt x="244" y="404"/>
                    </a:lnTo>
                    <a:lnTo>
                      <a:pt x="294" y="378"/>
                    </a:lnTo>
                    <a:lnTo>
                      <a:pt x="294" y="336"/>
                    </a:lnTo>
                    <a:lnTo>
                      <a:pt x="374" y="202"/>
                    </a:lnTo>
                    <a:lnTo>
                      <a:pt x="284" y="22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7" name="Freeform 3057"/>
              <p:cNvSpPr>
                <a:spLocks/>
              </p:cNvSpPr>
              <p:nvPr/>
            </p:nvSpPr>
            <p:spPr bwMode="auto">
              <a:xfrm>
                <a:off x="7352615" y="1516668"/>
                <a:ext cx="151701" cy="434531"/>
              </a:xfrm>
              <a:custGeom>
                <a:avLst/>
                <a:gdLst/>
                <a:ahLst/>
                <a:cxnLst>
                  <a:cxn ang="0">
                    <a:pos x="110" y="84"/>
                  </a:cxn>
                  <a:cxn ang="0">
                    <a:pos x="110" y="84"/>
                  </a:cxn>
                  <a:cxn ang="0">
                    <a:pos x="112" y="64"/>
                  </a:cxn>
                  <a:cxn ang="0">
                    <a:pos x="112" y="42"/>
                  </a:cxn>
                  <a:cxn ang="0">
                    <a:pos x="110" y="20"/>
                  </a:cxn>
                  <a:cxn ang="0">
                    <a:pos x="106" y="0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2"/>
                  </a:cxn>
                  <a:cxn ang="0">
                    <a:pos x="40" y="174"/>
                  </a:cxn>
                  <a:cxn ang="0">
                    <a:pos x="80" y="318"/>
                  </a:cxn>
                  <a:cxn ang="0">
                    <a:pos x="86" y="338"/>
                  </a:cxn>
                  <a:cxn ang="0">
                    <a:pos x="86" y="338"/>
                  </a:cxn>
                  <a:cxn ang="0">
                    <a:pos x="118" y="330"/>
                  </a:cxn>
                  <a:cxn ang="0">
                    <a:pos x="118" y="330"/>
                  </a:cxn>
                  <a:cxn ang="0">
                    <a:pos x="110" y="302"/>
                  </a:cxn>
                  <a:cxn ang="0">
                    <a:pos x="106" y="270"/>
                  </a:cxn>
                  <a:cxn ang="0">
                    <a:pos x="104" y="234"/>
                  </a:cxn>
                  <a:cxn ang="0">
                    <a:pos x="104" y="198"/>
                  </a:cxn>
                  <a:cxn ang="0">
                    <a:pos x="106" y="132"/>
                  </a:cxn>
                  <a:cxn ang="0">
                    <a:pos x="108" y="104"/>
                  </a:cxn>
                  <a:cxn ang="0">
                    <a:pos x="110" y="84"/>
                  </a:cxn>
                  <a:cxn ang="0">
                    <a:pos x="110" y="84"/>
                  </a:cxn>
                </a:cxnLst>
                <a:rect l="0" t="0" r="r" b="b"/>
                <a:pathLst>
                  <a:path w="118" h="338">
                    <a:moveTo>
                      <a:pt x="110" y="84"/>
                    </a:moveTo>
                    <a:lnTo>
                      <a:pt x="110" y="84"/>
                    </a:lnTo>
                    <a:lnTo>
                      <a:pt x="112" y="64"/>
                    </a:lnTo>
                    <a:lnTo>
                      <a:pt x="112" y="42"/>
                    </a:lnTo>
                    <a:lnTo>
                      <a:pt x="110" y="20"/>
                    </a:lnTo>
                    <a:lnTo>
                      <a:pt x="106" y="0"/>
                    </a:lnTo>
                    <a:lnTo>
                      <a:pt x="0" y="40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40" y="174"/>
                    </a:lnTo>
                    <a:lnTo>
                      <a:pt x="80" y="318"/>
                    </a:lnTo>
                    <a:lnTo>
                      <a:pt x="86" y="338"/>
                    </a:lnTo>
                    <a:lnTo>
                      <a:pt x="86" y="338"/>
                    </a:lnTo>
                    <a:lnTo>
                      <a:pt x="118" y="330"/>
                    </a:lnTo>
                    <a:lnTo>
                      <a:pt x="118" y="330"/>
                    </a:lnTo>
                    <a:lnTo>
                      <a:pt x="110" y="302"/>
                    </a:lnTo>
                    <a:lnTo>
                      <a:pt x="106" y="270"/>
                    </a:lnTo>
                    <a:lnTo>
                      <a:pt x="104" y="234"/>
                    </a:lnTo>
                    <a:lnTo>
                      <a:pt x="104" y="198"/>
                    </a:lnTo>
                    <a:lnTo>
                      <a:pt x="106" y="132"/>
                    </a:lnTo>
                    <a:lnTo>
                      <a:pt x="108" y="104"/>
                    </a:lnTo>
                    <a:lnTo>
                      <a:pt x="110" y="84"/>
                    </a:lnTo>
                    <a:lnTo>
                      <a:pt x="110" y="8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8" name="Freeform 3058"/>
              <p:cNvSpPr>
                <a:spLocks/>
              </p:cNvSpPr>
              <p:nvPr/>
            </p:nvSpPr>
            <p:spPr bwMode="auto">
              <a:xfrm>
                <a:off x="7486317" y="1462674"/>
                <a:ext cx="251976" cy="478241"/>
              </a:xfrm>
              <a:custGeom>
                <a:avLst/>
                <a:gdLst/>
                <a:ahLst/>
                <a:cxnLst>
                  <a:cxn ang="0">
                    <a:pos x="156" y="224"/>
                  </a:cxn>
                  <a:cxn ang="0">
                    <a:pos x="30" y="6"/>
                  </a:cxn>
                  <a:cxn ang="0">
                    <a:pos x="30" y="4"/>
                  </a:cxn>
                  <a:cxn ang="0">
                    <a:pos x="156" y="222"/>
                  </a:cxn>
                  <a:cxn ang="0">
                    <a:pos x="30" y="0"/>
                  </a:cxn>
                  <a:cxn ang="0">
                    <a:pos x="16" y="36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6" y="62"/>
                  </a:cxn>
                  <a:cxn ang="0">
                    <a:pos x="8" y="84"/>
                  </a:cxn>
                  <a:cxn ang="0">
                    <a:pos x="8" y="106"/>
                  </a:cxn>
                  <a:cxn ang="0">
                    <a:pos x="6" y="126"/>
                  </a:cxn>
                  <a:cxn ang="0">
                    <a:pos x="6" y="126"/>
                  </a:cxn>
                  <a:cxn ang="0">
                    <a:pos x="4" y="146"/>
                  </a:cxn>
                  <a:cxn ang="0">
                    <a:pos x="2" y="174"/>
                  </a:cxn>
                  <a:cxn ang="0">
                    <a:pos x="0" y="240"/>
                  </a:cxn>
                  <a:cxn ang="0">
                    <a:pos x="0" y="276"/>
                  </a:cxn>
                  <a:cxn ang="0">
                    <a:pos x="2" y="312"/>
                  </a:cxn>
                  <a:cxn ang="0">
                    <a:pos x="6" y="344"/>
                  </a:cxn>
                  <a:cxn ang="0">
                    <a:pos x="14" y="372"/>
                  </a:cxn>
                  <a:cxn ang="0">
                    <a:pos x="14" y="372"/>
                  </a:cxn>
                  <a:cxn ang="0">
                    <a:pos x="44" y="362"/>
                  </a:cxn>
                  <a:cxn ang="0">
                    <a:pos x="74" y="350"/>
                  </a:cxn>
                  <a:cxn ang="0">
                    <a:pos x="100" y="334"/>
                  </a:cxn>
                  <a:cxn ang="0">
                    <a:pos x="114" y="326"/>
                  </a:cxn>
                  <a:cxn ang="0">
                    <a:pos x="124" y="316"/>
                  </a:cxn>
                  <a:cxn ang="0">
                    <a:pos x="124" y="316"/>
                  </a:cxn>
                  <a:cxn ang="0">
                    <a:pos x="134" y="308"/>
                  </a:cxn>
                  <a:cxn ang="0">
                    <a:pos x="144" y="300"/>
                  </a:cxn>
                  <a:cxn ang="0">
                    <a:pos x="154" y="296"/>
                  </a:cxn>
                  <a:cxn ang="0">
                    <a:pos x="164" y="292"/>
                  </a:cxn>
                  <a:cxn ang="0">
                    <a:pos x="182" y="288"/>
                  </a:cxn>
                  <a:cxn ang="0">
                    <a:pos x="196" y="288"/>
                  </a:cxn>
                  <a:cxn ang="0">
                    <a:pos x="196" y="250"/>
                  </a:cxn>
                  <a:cxn ang="0">
                    <a:pos x="156" y="224"/>
                  </a:cxn>
                </a:cxnLst>
                <a:rect l="0" t="0" r="r" b="b"/>
                <a:pathLst>
                  <a:path w="196" h="372">
                    <a:moveTo>
                      <a:pt x="156" y="224"/>
                    </a:moveTo>
                    <a:lnTo>
                      <a:pt x="30" y="6"/>
                    </a:lnTo>
                    <a:lnTo>
                      <a:pt x="30" y="4"/>
                    </a:lnTo>
                    <a:lnTo>
                      <a:pt x="156" y="222"/>
                    </a:lnTo>
                    <a:lnTo>
                      <a:pt x="30" y="0"/>
                    </a:lnTo>
                    <a:lnTo>
                      <a:pt x="16" y="36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6" y="62"/>
                    </a:lnTo>
                    <a:lnTo>
                      <a:pt x="8" y="84"/>
                    </a:lnTo>
                    <a:lnTo>
                      <a:pt x="8" y="106"/>
                    </a:lnTo>
                    <a:lnTo>
                      <a:pt x="6" y="126"/>
                    </a:lnTo>
                    <a:lnTo>
                      <a:pt x="6" y="126"/>
                    </a:lnTo>
                    <a:lnTo>
                      <a:pt x="4" y="146"/>
                    </a:lnTo>
                    <a:lnTo>
                      <a:pt x="2" y="174"/>
                    </a:lnTo>
                    <a:lnTo>
                      <a:pt x="0" y="240"/>
                    </a:lnTo>
                    <a:lnTo>
                      <a:pt x="0" y="276"/>
                    </a:lnTo>
                    <a:lnTo>
                      <a:pt x="2" y="312"/>
                    </a:lnTo>
                    <a:lnTo>
                      <a:pt x="6" y="344"/>
                    </a:lnTo>
                    <a:lnTo>
                      <a:pt x="14" y="372"/>
                    </a:lnTo>
                    <a:lnTo>
                      <a:pt x="14" y="372"/>
                    </a:lnTo>
                    <a:lnTo>
                      <a:pt x="44" y="362"/>
                    </a:lnTo>
                    <a:lnTo>
                      <a:pt x="74" y="350"/>
                    </a:lnTo>
                    <a:lnTo>
                      <a:pt x="100" y="334"/>
                    </a:lnTo>
                    <a:lnTo>
                      <a:pt x="114" y="326"/>
                    </a:lnTo>
                    <a:lnTo>
                      <a:pt x="124" y="316"/>
                    </a:lnTo>
                    <a:lnTo>
                      <a:pt x="124" y="316"/>
                    </a:lnTo>
                    <a:lnTo>
                      <a:pt x="134" y="308"/>
                    </a:lnTo>
                    <a:lnTo>
                      <a:pt x="144" y="300"/>
                    </a:lnTo>
                    <a:lnTo>
                      <a:pt x="154" y="296"/>
                    </a:lnTo>
                    <a:lnTo>
                      <a:pt x="164" y="292"/>
                    </a:lnTo>
                    <a:lnTo>
                      <a:pt x="182" y="288"/>
                    </a:lnTo>
                    <a:lnTo>
                      <a:pt x="196" y="288"/>
                    </a:lnTo>
                    <a:lnTo>
                      <a:pt x="196" y="250"/>
                    </a:lnTo>
                    <a:lnTo>
                      <a:pt x="156" y="22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9" name="Freeform 3059"/>
              <p:cNvSpPr>
                <a:spLocks/>
              </p:cNvSpPr>
              <p:nvPr/>
            </p:nvSpPr>
            <p:spPr bwMode="auto">
              <a:xfrm>
                <a:off x="7481174" y="1971769"/>
                <a:ext cx="213409" cy="233978"/>
              </a:xfrm>
              <a:custGeom>
                <a:avLst/>
                <a:gdLst/>
                <a:ahLst/>
                <a:cxnLst>
                  <a:cxn ang="0">
                    <a:pos x="2" y="46"/>
                  </a:cxn>
                  <a:cxn ang="0">
                    <a:pos x="12" y="128"/>
                  </a:cxn>
                  <a:cxn ang="0">
                    <a:pos x="64" y="182"/>
                  </a:cxn>
                  <a:cxn ang="0">
                    <a:pos x="60" y="178"/>
                  </a:cxn>
                  <a:cxn ang="0">
                    <a:pos x="64" y="182"/>
                  </a:cxn>
                  <a:cxn ang="0">
                    <a:pos x="66" y="178"/>
                  </a:cxn>
                  <a:cxn ang="0">
                    <a:pos x="150" y="138"/>
                  </a:cxn>
                  <a:cxn ang="0">
                    <a:pos x="164" y="138"/>
                  </a:cxn>
                  <a:cxn ang="0">
                    <a:pos x="166" y="138"/>
                  </a:cxn>
                  <a:cxn ang="0">
                    <a:pos x="138" y="0"/>
                  </a:cxn>
                  <a:cxn ang="0">
                    <a:pos x="0" y="44"/>
                  </a:cxn>
                  <a:cxn ang="0">
                    <a:pos x="2" y="46"/>
                  </a:cxn>
                </a:cxnLst>
                <a:rect l="0" t="0" r="r" b="b"/>
                <a:pathLst>
                  <a:path w="166" h="182">
                    <a:moveTo>
                      <a:pt x="2" y="46"/>
                    </a:moveTo>
                    <a:lnTo>
                      <a:pt x="12" y="128"/>
                    </a:lnTo>
                    <a:lnTo>
                      <a:pt x="64" y="182"/>
                    </a:lnTo>
                    <a:lnTo>
                      <a:pt x="60" y="178"/>
                    </a:lnTo>
                    <a:lnTo>
                      <a:pt x="64" y="182"/>
                    </a:lnTo>
                    <a:lnTo>
                      <a:pt x="66" y="178"/>
                    </a:lnTo>
                    <a:lnTo>
                      <a:pt x="150" y="138"/>
                    </a:lnTo>
                    <a:lnTo>
                      <a:pt x="164" y="138"/>
                    </a:lnTo>
                    <a:lnTo>
                      <a:pt x="166" y="138"/>
                    </a:lnTo>
                    <a:lnTo>
                      <a:pt x="138" y="0"/>
                    </a:lnTo>
                    <a:lnTo>
                      <a:pt x="0" y="44"/>
                    </a:lnTo>
                    <a:lnTo>
                      <a:pt x="2" y="4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0" name="Freeform 3060"/>
              <p:cNvSpPr>
                <a:spLocks/>
              </p:cNvSpPr>
              <p:nvPr/>
            </p:nvSpPr>
            <p:spPr bwMode="auto">
              <a:xfrm>
                <a:off x="7460606" y="1835496"/>
                <a:ext cx="429388" cy="195410"/>
              </a:xfrm>
              <a:custGeom>
                <a:avLst/>
                <a:gdLst/>
                <a:ahLst/>
                <a:cxnLst>
                  <a:cxn ang="0">
                    <a:pos x="292" y="16"/>
                  </a:cxn>
                  <a:cxn ang="0">
                    <a:pos x="264" y="68"/>
                  </a:cxn>
                  <a:cxn ang="0">
                    <a:pos x="214" y="2"/>
                  </a:cxn>
                  <a:cxn ang="0">
                    <a:pos x="214" y="0"/>
                  </a:cxn>
                  <a:cxn ang="0">
                    <a:pos x="214" y="0"/>
                  </a:cxn>
                  <a:cxn ang="0">
                    <a:pos x="202" y="0"/>
                  </a:cxn>
                  <a:cxn ang="0">
                    <a:pos x="184" y="2"/>
                  </a:cxn>
                  <a:cxn ang="0">
                    <a:pos x="174" y="6"/>
                  </a:cxn>
                  <a:cxn ang="0">
                    <a:pos x="162" y="12"/>
                  </a:cxn>
                  <a:cxn ang="0">
                    <a:pos x="152" y="18"/>
                  </a:cxn>
                  <a:cxn ang="0">
                    <a:pos x="142" y="26"/>
                  </a:cxn>
                  <a:cxn ang="0">
                    <a:pos x="142" y="26"/>
                  </a:cxn>
                  <a:cxn ang="0">
                    <a:pos x="128" y="38"/>
                  </a:cxn>
                  <a:cxn ang="0">
                    <a:pos x="112" y="50"/>
                  </a:cxn>
                  <a:cxn ang="0">
                    <a:pos x="96" y="60"/>
                  </a:cxn>
                  <a:cxn ang="0">
                    <a:pos x="76" y="68"/>
                  </a:cxn>
                  <a:cxn ang="0">
                    <a:pos x="38" y="82"/>
                  </a:cxn>
                  <a:cxn ang="0">
                    <a:pos x="0" y="90"/>
                  </a:cxn>
                  <a:cxn ang="0">
                    <a:pos x="16" y="150"/>
                  </a:cxn>
                  <a:cxn ang="0">
                    <a:pos x="154" y="106"/>
                  </a:cxn>
                  <a:cxn ang="0">
                    <a:pos x="154" y="102"/>
                  </a:cxn>
                  <a:cxn ang="0">
                    <a:pos x="170" y="96"/>
                  </a:cxn>
                  <a:cxn ang="0">
                    <a:pos x="206" y="82"/>
                  </a:cxn>
                  <a:cxn ang="0">
                    <a:pos x="242" y="122"/>
                  </a:cxn>
                  <a:cxn ang="0">
                    <a:pos x="244" y="122"/>
                  </a:cxn>
                  <a:cxn ang="0">
                    <a:pos x="254" y="152"/>
                  </a:cxn>
                  <a:cxn ang="0">
                    <a:pos x="334" y="152"/>
                  </a:cxn>
                  <a:cxn ang="0">
                    <a:pos x="334" y="84"/>
                  </a:cxn>
                  <a:cxn ang="0">
                    <a:pos x="292" y="16"/>
                  </a:cxn>
                </a:cxnLst>
                <a:rect l="0" t="0" r="r" b="b"/>
                <a:pathLst>
                  <a:path w="334" h="152">
                    <a:moveTo>
                      <a:pt x="292" y="16"/>
                    </a:moveTo>
                    <a:lnTo>
                      <a:pt x="264" y="68"/>
                    </a:lnTo>
                    <a:lnTo>
                      <a:pt x="214" y="2"/>
                    </a:lnTo>
                    <a:lnTo>
                      <a:pt x="214" y="0"/>
                    </a:lnTo>
                    <a:lnTo>
                      <a:pt x="214" y="0"/>
                    </a:lnTo>
                    <a:lnTo>
                      <a:pt x="202" y="0"/>
                    </a:lnTo>
                    <a:lnTo>
                      <a:pt x="184" y="2"/>
                    </a:lnTo>
                    <a:lnTo>
                      <a:pt x="174" y="6"/>
                    </a:lnTo>
                    <a:lnTo>
                      <a:pt x="162" y="12"/>
                    </a:lnTo>
                    <a:lnTo>
                      <a:pt x="152" y="18"/>
                    </a:lnTo>
                    <a:lnTo>
                      <a:pt x="142" y="26"/>
                    </a:lnTo>
                    <a:lnTo>
                      <a:pt x="142" y="26"/>
                    </a:lnTo>
                    <a:lnTo>
                      <a:pt x="128" y="38"/>
                    </a:lnTo>
                    <a:lnTo>
                      <a:pt x="112" y="50"/>
                    </a:lnTo>
                    <a:lnTo>
                      <a:pt x="96" y="60"/>
                    </a:lnTo>
                    <a:lnTo>
                      <a:pt x="76" y="68"/>
                    </a:lnTo>
                    <a:lnTo>
                      <a:pt x="38" y="82"/>
                    </a:lnTo>
                    <a:lnTo>
                      <a:pt x="0" y="90"/>
                    </a:lnTo>
                    <a:lnTo>
                      <a:pt x="16" y="150"/>
                    </a:lnTo>
                    <a:lnTo>
                      <a:pt x="154" y="106"/>
                    </a:lnTo>
                    <a:lnTo>
                      <a:pt x="154" y="102"/>
                    </a:lnTo>
                    <a:lnTo>
                      <a:pt x="170" y="96"/>
                    </a:lnTo>
                    <a:lnTo>
                      <a:pt x="206" y="82"/>
                    </a:lnTo>
                    <a:lnTo>
                      <a:pt x="242" y="122"/>
                    </a:lnTo>
                    <a:lnTo>
                      <a:pt x="244" y="122"/>
                    </a:lnTo>
                    <a:lnTo>
                      <a:pt x="254" y="152"/>
                    </a:lnTo>
                    <a:lnTo>
                      <a:pt x="334" y="152"/>
                    </a:lnTo>
                    <a:lnTo>
                      <a:pt x="334" y="84"/>
                    </a:lnTo>
                    <a:lnTo>
                      <a:pt x="292" y="1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1" name="Freeform 2853"/>
              <p:cNvSpPr>
                <a:spLocks/>
              </p:cNvSpPr>
              <p:nvPr/>
            </p:nvSpPr>
            <p:spPr bwMode="auto">
              <a:xfrm>
                <a:off x="7695022" y="2153639"/>
                <a:ext cx="2571" cy="25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2" name="Freeform 2854"/>
              <p:cNvSpPr>
                <a:spLocks/>
              </p:cNvSpPr>
              <p:nvPr/>
            </p:nvSpPr>
            <p:spPr bwMode="auto">
              <a:xfrm>
                <a:off x="2751006" y="3282304"/>
                <a:ext cx="745587" cy="1007828"/>
              </a:xfrm>
              <a:custGeom>
                <a:avLst/>
                <a:gdLst/>
                <a:ahLst/>
                <a:cxnLst>
                  <a:cxn ang="0">
                    <a:pos x="128" y="0"/>
                  </a:cxn>
                  <a:cxn ang="0">
                    <a:pos x="112" y="120"/>
                  </a:cxn>
                  <a:cxn ang="0">
                    <a:pos x="72" y="106"/>
                  </a:cxn>
                  <a:cxn ang="0">
                    <a:pos x="42" y="254"/>
                  </a:cxn>
                  <a:cxn ang="0">
                    <a:pos x="74" y="350"/>
                  </a:cxn>
                  <a:cxn ang="0">
                    <a:pos x="62" y="364"/>
                  </a:cxn>
                  <a:cxn ang="0">
                    <a:pos x="12" y="472"/>
                  </a:cxn>
                  <a:cxn ang="0">
                    <a:pos x="24" y="526"/>
                  </a:cxn>
                  <a:cxn ang="0">
                    <a:pos x="0" y="568"/>
                  </a:cxn>
                  <a:cxn ang="0">
                    <a:pos x="362" y="768"/>
                  </a:cxn>
                  <a:cxn ang="0">
                    <a:pos x="538" y="784"/>
                  </a:cxn>
                  <a:cxn ang="0">
                    <a:pos x="580" y="80"/>
                  </a:cxn>
                  <a:cxn ang="0">
                    <a:pos x="128" y="0"/>
                  </a:cxn>
                </a:cxnLst>
                <a:rect l="0" t="0" r="r" b="b"/>
                <a:pathLst>
                  <a:path w="580" h="784">
                    <a:moveTo>
                      <a:pt x="128" y="0"/>
                    </a:moveTo>
                    <a:lnTo>
                      <a:pt x="112" y="120"/>
                    </a:lnTo>
                    <a:lnTo>
                      <a:pt x="72" y="106"/>
                    </a:lnTo>
                    <a:lnTo>
                      <a:pt x="42" y="254"/>
                    </a:lnTo>
                    <a:lnTo>
                      <a:pt x="74" y="350"/>
                    </a:lnTo>
                    <a:lnTo>
                      <a:pt x="62" y="364"/>
                    </a:lnTo>
                    <a:lnTo>
                      <a:pt x="12" y="472"/>
                    </a:lnTo>
                    <a:lnTo>
                      <a:pt x="24" y="526"/>
                    </a:lnTo>
                    <a:lnTo>
                      <a:pt x="0" y="568"/>
                    </a:lnTo>
                    <a:lnTo>
                      <a:pt x="362" y="768"/>
                    </a:lnTo>
                    <a:lnTo>
                      <a:pt x="538" y="784"/>
                    </a:lnTo>
                    <a:lnTo>
                      <a:pt x="580" y="80"/>
                    </a:lnTo>
                    <a:lnTo>
                      <a:pt x="128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3" name="Freeform 2855"/>
              <p:cNvSpPr>
                <a:spLocks/>
              </p:cNvSpPr>
              <p:nvPr/>
            </p:nvSpPr>
            <p:spPr bwMode="auto">
              <a:xfrm>
                <a:off x="5381130" y="3945620"/>
                <a:ext cx="719878" cy="601612"/>
              </a:xfrm>
              <a:custGeom>
                <a:avLst/>
                <a:gdLst/>
                <a:ahLst/>
                <a:cxnLst>
                  <a:cxn ang="0">
                    <a:pos x="276" y="240"/>
                  </a:cxn>
                  <a:cxn ang="0">
                    <a:pos x="310" y="90"/>
                  </a:cxn>
                  <a:cxn ang="0">
                    <a:pos x="280" y="0"/>
                  </a:cxn>
                  <a:cxn ang="0">
                    <a:pos x="0" y="20"/>
                  </a:cxn>
                  <a:cxn ang="0">
                    <a:pos x="16" y="154"/>
                  </a:cxn>
                  <a:cxn ang="0">
                    <a:pos x="84" y="274"/>
                  </a:cxn>
                  <a:cxn ang="0">
                    <a:pos x="76" y="372"/>
                  </a:cxn>
                  <a:cxn ang="0">
                    <a:pos x="62" y="416"/>
                  </a:cxn>
                  <a:cxn ang="0">
                    <a:pos x="174" y="440"/>
                  </a:cxn>
                  <a:cxn ang="0">
                    <a:pos x="282" y="426"/>
                  </a:cxn>
                  <a:cxn ang="0">
                    <a:pos x="264" y="468"/>
                  </a:cxn>
                  <a:cxn ang="0">
                    <a:pos x="354" y="468"/>
                  </a:cxn>
                  <a:cxn ang="0">
                    <a:pos x="390" y="426"/>
                  </a:cxn>
                  <a:cxn ang="0">
                    <a:pos x="412" y="454"/>
                  </a:cxn>
                  <a:cxn ang="0">
                    <a:pos x="480" y="400"/>
                  </a:cxn>
                  <a:cxn ang="0">
                    <a:pos x="502" y="454"/>
                  </a:cxn>
                  <a:cxn ang="0">
                    <a:pos x="540" y="454"/>
                  </a:cxn>
                  <a:cxn ang="0">
                    <a:pos x="560" y="412"/>
                  </a:cxn>
                  <a:cxn ang="0">
                    <a:pos x="512" y="344"/>
                  </a:cxn>
                  <a:cxn ang="0">
                    <a:pos x="480" y="304"/>
                  </a:cxn>
                  <a:cxn ang="0">
                    <a:pos x="486" y="302"/>
                  </a:cxn>
                  <a:cxn ang="0">
                    <a:pos x="448" y="230"/>
                  </a:cxn>
                  <a:cxn ang="0">
                    <a:pos x="276" y="240"/>
                  </a:cxn>
                </a:cxnLst>
                <a:rect l="0" t="0" r="r" b="b"/>
                <a:pathLst>
                  <a:path w="560" h="468">
                    <a:moveTo>
                      <a:pt x="276" y="240"/>
                    </a:moveTo>
                    <a:lnTo>
                      <a:pt x="310" y="90"/>
                    </a:lnTo>
                    <a:lnTo>
                      <a:pt x="280" y="0"/>
                    </a:lnTo>
                    <a:lnTo>
                      <a:pt x="0" y="20"/>
                    </a:lnTo>
                    <a:lnTo>
                      <a:pt x="16" y="154"/>
                    </a:lnTo>
                    <a:lnTo>
                      <a:pt x="84" y="274"/>
                    </a:lnTo>
                    <a:lnTo>
                      <a:pt x="76" y="372"/>
                    </a:lnTo>
                    <a:lnTo>
                      <a:pt x="62" y="416"/>
                    </a:lnTo>
                    <a:lnTo>
                      <a:pt x="174" y="440"/>
                    </a:lnTo>
                    <a:lnTo>
                      <a:pt x="282" y="426"/>
                    </a:lnTo>
                    <a:lnTo>
                      <a:pt x="264" y="468"/>
                    </a:lnTo>
                    <a:lnTo>
                      <a:pt x="354" y="468"/>
                    </a:lnTo>
                    <a:lnTo>
                      <a:pt x="390" y="426"/>
                    </a:lnTo>
                    <a:lnTo>
                      <a:pt x="412" y="454"/>
                    </a:lnTo>
                    <a:lnTo>
                      <a:pt x="480" y="400"/>
                    </a:lnTo>
                    <a:lnTo>
                      <a:pt x="502" y="454"/>
                    </a:lnTo>
                    <a:lnTo>
                      <a:pt x="540" y="454"/>
                    </a:lnTo>
                    <a:lnTo>
                      <a:pt x="560" y="412"/>
                    </a:lnTo>
                    <a:lnTo>
                      <a:pt x="512" y="344"/>
                    </a:lnTo>
                    <a:lnTo>
                      <a:pt x="480" y="304"/>
                    </a:lnTo>
                    <a:lnTo>
                      <a:pt x="486" y="302"/>
                    </a:lnTo>
                    <a:lnTo>
                      <a:pt x="448" y="230"/>
                    </a:lnTo>
                    <a:lnTo>
                      <a:pt x="276" y="24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4" name="Freeform 2856"/>
              <p:cNvSpPr>
                <a:spLocks/>
              </p:cNvSpPr>
              <p:nvPr/>
            </p:nvSpPr>
            <p:spPr bwMode="auto">
              <a:xfrm>
                <a:off x="3452887" y="3385144"/>
                <a:ext cx="812433" cy="915273"/>
              </a:xfrm>
              <a:custGeom>
                <a:avLst/>
                <a:gdLst/>
                <a:ahLst/>
                <a:cxnLst>
                  <a:cxn ang="0">
                    <a:pos x="254" y="634"/>
                  </a:cxn>
                  <a:cxn ang="0">
                    <a:pos x="620" y="642"/>
                  </a:cxn>
                  <a:cxn ang="0">
                    <a:pos x="612" y="82"/>
                  </a:cxn>
                  <a:cxn ang="0">
                    <a:pos x="632" y="82"/>
                  </a:cxn>
                  <a:cxn ang="0">
                    <a:pos x="632" y="14"/>
                  </a:cxn>
                  <a:cxn ang="0">
                    <a:pos x="40" y="0"/>
                  </a:cxn>
                  <a:cxn ang="0">
                    <a:pos x="0" y="704"/>
                  </a:cxn>
                  <a:cxn ang="0">
                    <a:pos x="104" y="712"/>
                  </a:cxn>
                  <a:cxn ang="0">
                    <a:pos x="104" y="660"/>
                  </a:cxn>
                  <a:cxn ang="0">
                    <a:pos x="252" y="676"/>
                  </a:cxn>
                  <a:cxn ang="0">
                    <a:pos x="256" y="678"/>
                  </a:cxn>
                  <a:cxn ang="0">
                    <a:pos x="252" y="674"/>
                  </a:cxn>
                  <a:cxn ang="0">
                    <a:pos x="254" y="634"/>
                  </a:cxn>
                </a:cxnLst>
                <a:rect l="0" t="0" r="r" b="b"/>
                <a:pathLst>
                  <a:path w="632" h="712">
                    <a:moveTo>
                      <a:pt x="254" y="634"/>
                    </a:moveTo>
                    <a:lnTo>
                      <a:pt x="620" y="642"/>
                    </a:lnTo>
                    <a:lnTo>
                      <a:pt x="612" y="82"/>
                    </a:lnTo>
                    <a:lnTo>
                      <a:pt x="632" y="82"/>
                    </a:lnTo>
                    <a:lnTo>
                      <a:pt x="632" y="14"/>
                    </a:lnTo>
                    <a:lnTo>
                      <a:pt x="40" y="0"/>
                    </a:lnTo>
                    <a:lnTo>
                      <a:pt x="0" y="704"/>
                    </a:lnTo>
                    <a:lnTo>
                      <a:pt x="104" y="712"/>
                    </a:lnTo>
                    <a:lnTo>
                      <a:pt x="104" y="660"/>
                    </a:lnTo>
                    <a:lnTo>
                      <a:pt x="252" y="676"/>
                    </a:lnTo>
                    <a:lnTo>
                      <a:pt x="256" y="678"/>
                    </a:lnTo>
                    <a:lnTo>
                      <a:pt x="252" y="674"/>
                    </a:lnTo>
                    <a:lnTo>
                      <a:pt x="254" y="63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5" name="Freeform 2857"/>
              <p:cNvSpPr>
                <a:spLocks/>
              </p:cNvSpPr>
              <p:nvPr/>
            </p:nvSpPr>
            <p:spPr bwMode="auto">
              <a:xfrm>
                <a:off x="3784545" y="3487983"/>
                <a:ext cx="1699425" cy="1699425"/>
              </a:xfrm>
              <a:custGeom>
                <a:avLst/>
                <a:gdLst/>
                <a:ahLst/>
                <a:cxnLst>
                  <a:cxn ang="0">
                    <a:pos x="1312" y="726"/>
                  </a:cxn>
                  <a:cxn ang="0">
                    <a:pos x="1322" y="630"/>
                  </a:cxn>
                  <a:cxn ang="0">
                    <a:pos x="1252" y="512"/>
                  </a:cxn>
                  <a:cxn ang="0">
                    <a:pos x="1234" y="376"/>
                  </a:cxn>
                  <a:cxn ang="0">
                    <a:pos x="1234" y="376"/>
                  </a:cxn>
                  <a:cxn ang="0">
                    <a:pos x="1234" y="376"/>
                  </a:cxn>
                  <a:cxn ang="0">
                    <a:pos x="1230" y="338"/>
                  </a:cxn>
                  <a:cxn ang="0">
                    <a:pos x="1120" y="292"/>
                  </a:cxn>
                  <a:cxn ang="0">
                    <a:pos x="852" y="304"/>
                  </a:cxn>
                  <a:cxn ang="0">
                    <a:pos x="644" y="236"/>
                  </a:cxn>
                  <a:cxn ang="0">
                    <a:pos x="632" y="0"/>
                  </a:cxn>
                  <a:cxn ang="0">
                    <a:pos x="362" y="10"/>
                  </a:cxn>
                  <a:cxn ang="0">
                    <a:pos x="370" y="572"/>
                  </a:cxn>
                  <a:cxn ang="0">
                    <a:pos x="0" y="562"/>
                  </a:cxn>
                  <a:cxn ang="0">
                    <a:pos x="0" y="600"/>
                  </a:cxn>
                  <a:cxn ang="0">
                    <a:pos x="174" y="756"/>
                  </a:cxn>
                  <a:cxn ang="0">
                    <a:pos x="212" y="878"/>
                  </a:cxn>
                  <a:cxn ang="0">
                    <a:pos x="372" y="958"/>
                  </a:cxn>
                  <a:cxn ang="0">
                    <a:pos x="442" y="850"/>
                  </a:cxn>
                  <a:cxn ang="0">
                    <a:pos x="562" y="864"/>
                  </a:cxn>
                  <a:cxn ang="0">
                    <a:pos x="770" y="1254"/>
                  </a:cxn>
                  <a:cxn ang="0">
                    <a:pos x="978" y="1322"/>
                  </a:cxn>
                  <a:cxn ang="0">
                    <a:pos x="1008" y="1268"/>
                  </a:cxn>
                  <a:cxn ang="0">
                    <a:pos x="968" y="1146"/>
                  </a:cxn>
                  <a:cxn ang="0">
                    <a:pos x="968" y="1014"/>
                  </a:cxn>
                  <a:cxn ang="0">
                    <a:pos x="1286" y="768"/>
                  </a:cxn>
                  <a:cxn ang="0">
                    <a:pos x="1300" y="772"/>
                  </a:cxn>
                  <a:cxn ang="0">
                    <a:pos x="1298" y="770"/>
                  </a:cxn>
                  <a:cxn ang="0">
                    <a:pos x="1312" y="726"/>
                  </a:cxn>
                </a:cxnLst>
                <a:rect l="0" t="0" r="r" b="b"/>
                <a:pathLst>
                  <a:path w="1322" h="1322">
                    <a:moveTo>
                      <a:pt x="1312" y="726"/>
                    </a:moveTo>
                    <a:lnTo>
                      <a:pt x="1322" y="630"/>
                    </a:lnTo>
                    <a:lnTo>
                      <a:pt x="1252" y="512"/>
                    </a:lnTo>
                    <a:lnTo>
                      <a:pt x="1234" y="376"/>
                    </a:lnTo>
                    <a:lnTo>
                      <a:pt x="1234" y="376"/>
                    </a:lnTo>
                    <a:lnTo>
                      <a:pt x="1234" y="376"/>
                    </a:lnTo>
                    <a:lnTo>
                      <a:pt x="1230" y="338"/>
                    </a:lnTo>
                    <a:lnTo>
                      <a:pt x="1120" y="292"/>
                    </a:lnTo>
                    <a:lnTo>
                      <a:pt x="852" y="304"/>
                    </a:lnTo>
                    <a:lnTo>
                      <a:pt x="644" y="236"/>
                    </a:lnTo>
                    <a:lnTo>
                      <a:pt x="632" y="0"/>
                    </a:lnTo>
                    <a:lnTo>
                      <a:pt x="362" y="10"/>
                    </a:lnTo>
                    <a:lnTo>
                      <a:pt x="370" y="572"/>
                    </a:lnTo>
                    <a:lnTo>
                      <a:pt x="0" y="562"/>
                    </a:lnTo>
                    <a:lnTo>
                      <a:pt x="0" y="600"/>
                    </a:lnTo>
                    <a:lnTo>
                      <a:pt x="174" y="756"/>
                    </a:lnTo>
                    <a:lnTo>
                      <a:pt x="212" y="878"/>
                    </a:lnTo>
                    <a:lnTo>
                      <a:pt x="372" y="958"/>
                    </a:lnTo>
                    <a:lnTo>
                      <a:pt x="442" y="850"/>
                    </a:lnTo>
                    <a:lnTo>
                      <a:pt x="562" y="864"/>
                    </a:lnTo>
                    <a:lnTo>
                      <a:pt x="770" y="1254"/>
                    </a:lnTo>
                    <a:lnTo>
                      <a:pt x="978" y="1322"/>
                    </a:lnTo>
                    <a:lnTo>
                      <a:pt x="1008" y="1268"/>
                    </a:lnTo>
                    <a:lnTo>
                      <a:pt x="968" y="1146"/>
                    </a:lnTo>
                    <a:lnTo>
                      <a:pt x="968" y="1014"/>
                    </a:lnTo>
                    <a:lnTo>
                      <a:pt x="1286" y="768"/>
                    </a:lnTo>
                    <a:lnTo>
                      <a:pt x="1300" y="772"/>
                    </a:lnTo>
                    <a:lnTo>
                      <a:pt x="1298" y="770"/>
                    </a:lnTo>
                    <a:lnTo>
                      <a:pt x="1312" y="72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6" name="Freeform 2858"/>
              <p:cNvSpPr>
                <a:spLocks/>
              </p:cNvSpPr>
              <p:nvPr/>
            </p:nvSpPr>
            <p:spPr bwMode="auto">
              <a:xfrm>
                <a:off x="5283432" y="3426280"/>
                <a:ext cx="578473" cy="539908"/>
              </a:xfrm>
              <a:custGeom>
                <a:avLst/>
                <a:gdLst/>
                <a:ahLst/>
                <a:cxnLst>
                  <a:cxn ang="0">
                    <a:pos x="72" y="382"/>
                  </a:cxn>
                  <a:cxn ang="0">
                    <a:pos x="76" y="420"/>
                  </a:cxn>
                  <a:cxn ang="0">
                    <a:pos x="356" y="400"/>
                  </a:cxn>
                  <a:cxn ang="0">
                    <a:pos x="346" y="360"/>
                  </a:cxn>
                  <a:cxn ang="0">
                    <a:pos x="450" y="42"/>
                  </a:cxn>
                  <a:cxn ang="0">
                    <a:pos x="366" y="48"/>
                  </a:cxn>
                  <a:cxn ang="0">
                    <a:pos x="384" y="0"/>
                  </a:cxn>
                  <a:cxn ang="0">
                    <a:pos x="0" y="8"/>
                  </a:cxn>
                  <a:cxn ang="0">
                    <a:pos x="32" y="366"/>
                  </a:cxn>
                  <a:cxn ang="0">
                    <a:pos x="72" y="382"/>
                  </a:cxn>
                </a:cxnLst>
                <a:rect l="0" t="0" r="r" b="b"/>
                <a:pathLst>
                  <a:path w="450" h="420">
                    <a:moveTo>
                      <a:pt x="72" y="382"/>
                    </a:moveTo>
                    <a:lnTo>
                      <a:pt x="76" y="420"/>
                    </a:lnTo>
                    <a:lnTo>
                      <a:pt x="356" y="400"/>
                    </a:lnTo>
                    <a:lnTo>
                      <a:pt x="346" y="360"/>
                    </a:lnTo>
                    <a:lnTo>
                      <a:pt x="450" y="42"/>
                    </a:lnTo>
                    <a:lnTo>
                      <a:pt x="366" y="48"/>
                    </a:lnTo>
                    <a:lnTo>
                      <a:pt x="384" y="0"/>
                    </a:lnTo>
                    <a:lnTo>
                      <a:pt x="0" y="8"/>
                    </a:lnTo>
                    <a:lnTo>
                      <a:pt x="32" y="366"/>
                    </a:lnTo>
                    <a:lnTo>
                      <a:pt x="72" y="38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7" name="Freeform 2859"/>
              <p:cNvSpPr>
                <a:spLocks/>
              </p:cNvSpPr>
              <p:nvPr/>
            </p:nvSpPr>
            <p:spPr bwMode="auto">
              <a:xfrm>
                <a:off x="4273033" y="3367147"/>
                <a:ext cx="1038680" cy="524482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2" y="96"/>
                  </a:cxn>
                  <a:cxn ang="0">
                    <a:pos x="256" y="88"/>
                  </a:cxn>
                  <a:cxn ang="0">
                    <a:pos x="270" y="326"/>
                  </a:cxn>
                  <a:cxn ang="0">
                    <a:pos x="472" y="394"/>
                  </a:cxn>
                  <a:cxn ang="0">
                    <a:pos x="742" y="380"/>
                  </a:cxn>
                  <a:cxn ang="0">
                    <a:pos x="808" y="408"/>
                  </a:cxn>
                  <a:cxn ang="0">
                    <a:pos x="774" y="0"/>
                  </a:cxn>
                  <a:cxn ang="0">
                    <a:pos x="0" y="28"/>
                  </a:cxn>
                </a:cxnLst>
                <a:rect l="0" t="0" r="r" b="b"/>
                <a:pathLst>
                  <a:path w="808" h="408">
                    <a:moveTo>
                      <a:pt x="0" y="28"/>
                    </a:moveTo>
                    <a:lnTo>
                      <a:pt x="2" y="96"/>
                    </a:lnTo>
                    <a:lnTo>
                      <a:pt x="256" y="88"/>
                    </a:lnTo>
                    <a:lnTo>
                      <a:pt x="270" y="326"/>
                    </a:lnTo>
                    <a:lnTo>
                      <a:pt x="472" y="394"/>
                    </a:lnTo>
                    <a:lnTo>
                      <a:pt x="742" y="380"/>
                    </a:lnTo>
                    <a:lnTo>
                      <a:pt x="808" y="408"/>
                    </a:lnTo>
                    <a:lnTo>
                      <a:pt x="774" y="0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8" name="Freeform 2860"/>
              <p:cNvSpPr>
                <a:spLocks/>
              </p:cNvSpPr>
              <p:nvPr/>
            </p:nvSpPr>
            <p:spPr bwMode="auto">
              <a:xfrm>
                <a:off x="2915550" y="2521291"/>
                <a:ext cx="642748" cy="858711"/>
              </a:xfrm>
              <a:custGeom>
                <a:avLst/>
                <a:gdLst/>
                <a:ahLst/>
                <a:cxnLst>
                  <a:cxn ang="0">
                    <a:pos x="0" y="588"/>
                  </a:cxn>
                  <a:cxn ang="0">
                    <a:pos x="452" y="668"/>
                  </a:cxn>
                  <a:cxn ang="0">
                    <a:pos x="500" y="202"/>
                  </a:cxn>
                  <a:cxn ang="0">
                    <a:pos x="312" y="176"/>
                  </a:cxn>
                  <a:cxn ang="0">
                    <a:pos x="336" y="54"/>
                  </a:cxn>
                  <a:cxn ang="0">
                    <a:pos x="76" y="0"/>
                  </a:cxn>
                  <a:cxn ang="0">
                    <a:pos x="0" y="588"/>
                  </a:cxn>
                </a:cxnLst>
                <a:rect l="0" t="0" r="r" b="b"/>
                <a:pathLst>
                  <a:path w="500" h="668">
                    <a:moveTo>
                      <a:pt x="0" y="588"/>
                    </a:moveTo>
                    <a:lnTo>
                      <a:pt x="452" y="668"/>
                    </a:lnTo>
                    <a:lnTo>
                      <a:pt x="500" y="202"/>
                    </a:lnTo>
                    <a:lnTo>
                      <a:pt x="312" y="176"/>
                    </a:lnTo>
                    <a:lnTo>
                      <a:pt x="336" y="54"/>
                    </a:lnTo>
                    <a:lnTo>
                      <a:pt x="76" y="0"/>
                    </a:lnTo>
                    <a:lnTo>
                      <a:pt x="0" y="58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9" name="Freeform 2861"/>
              <p:cNvSpPr>
                <a:spLocks/>
              </p:cNvSpPr>
              <p:nvPr/>
            </p:nvSpPr>
            <p:spPr bwMode="auto">
              <a:xfrm>
                <a:off x="5545674" y="1618873"/>
                <a:ext cx="683884" cy="323945"/>
              </a:xfrm>
              <a:custGeom>
                <a:avLst/>
                <a:gdLst/>
                <a:ahLst/>
                <a:cxnLst>
                  <a:cxn ang="0">
                    <a:pos x="230" y="214"/>
                  </a:cxn>
                  <a:cxn ang="0">
                    <a:pos x="236" y="252"/>
                  </a:cxn>
                  <a:cxn ang="0">
                    <a:pos x="262" y="252"/>
                  </a:cxn>
                  <a:cxn ang="0">
                    <a:pos x="284" y="200"/>
                  </a:cxn>
                  <a:cxn ang="0">
                    <a:pos x="362" y="160"/>
                  </a:cxn>
                  <a:cxn ang="0">
                    <a:pos x="444" y="122"/>
                  </a:cxn>
                  <a:cxn ang="0">
                    <a:pos x="532" y="122"/>
                  </a:cxn>
                  <a:cxn ang="0">
                    <a:pos x="444" y="14"/>
                  </a:cxn>
                  <a:cxn ang="0">
                    <a:pos x="306" y="96"/>
                  </a:cxn>
                  <a:cxn ang="0">
                    <a:pos x="244" y="106"/>
                  </a:cxn>
                  <a:cxn ang="0">
                    <a:pos x="206" y="70"/>
                  </a:cxn>
                  <a:cxn ang="0">
                    <a:pos x="154" y="80"/>
                  </a:cxn>
                  <a:cxn ang="0">
                    <a:pos x="174" y="0"/>
                  </a:cxn>
                  <a:cxn ang="0">
                    <a:pos x="4" y="134"/>
                  </a:cxn>
                  <a:cxn ang="0">
                    <a:pos x="0" y="134"/>
                  </a:cxn>
                  <a:cxn ang="0">
                    <a:pos x="18" y="186"/>
                  </a:cxn>
                  <a:cxn ang="0">
                    <a:pos x="230" y="214"/>
                  </a:cxn>
                </a:cxnLst>
                <a:rect l="0" t="0" r="r" b="b"/>
                <a:pathLst>
                  <a:path w="532" h="252">
                    <a:moveTo>
                      <a:pt x="230" y="214"/>
                    </a:moveTo>
                    <a:lnTo>
                      <a:pt x="236" y="252"/>
                    </a:lnTo>
                    <a:lnTo>
                      <a:pt x="262" y="252"/>
                    </a:lnTo>
                    <a:lnTo>
                      <a:pt x="284" y="200"/>
                    </a:lnTo>
                    <a:lnTo>
                      <a:pt x="362" y="160"/>
                    </a:lnTo>
                    <a:lnTo>
                      <a:pt x="444" y="122"/>
                    </a:lnTo>
                    <a:lnTo>
                      <a:pt x="532" y="122"/>
                    </a:lnTo>
                    <a:lnTo>
                      <a:pt x="444" y="14"/>
                    </a:lnTo>
                    <a:lnTo>
                      <a:pt x="306" y="96"/>
                    </a:lnTo>
                    <a:lnTo>
                      <a:pt x="244" y="106"/>
                    </a:lnTo>
                    <a:lnTo>
                      <a:pt x="206" y="70"/>
                    </a:lnTo>
                    <a:lnTo>
                      <a:pt x="154" y="80"/>
                    </a:lnTo>
                    <a:lnTo>
                      <a:pt x="174" y="0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18" y="186"/>
                    </a:lnTo>
                    <a:lnTo>
                      <a:pt x="230" y="21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0" name="Freeform 2862"/>
              <p:cNvSpPr>
                <a:spLocks/>
              </p:cNvSpPr>
              <p:nvPr/>
            </p:nvSpPr>
            <p:spPr bwMode="auto">
              <a:xfrm>
                <a:off x="3504307" y="2780961"/>
                <a:ext cx="868995" cy="611896"/>
              </a:xfrm>
              <a:custGeom>
                <a:avLst/>
                <a:gdLst/>
                <a:ahLst/>
                <a:cxnLst>
                  <a:cxn ang="0">
                    <a:pos x="670" y="118"/>
                  </a:cxn>
                  <a:cxn ang="0">
                    <a:pos x="662" y="26"/>
                  </a:cxn>
                  <a:cxn ang="0">
                    <a:pos x="50" y="0"/>
                  </a:cxn>
                  <a:cxn ang="0">
                    <a:pos x="0" y="466"/>
                  </a:cxn>
                  <a:cxn ang="0">
                    <a:pos x="594" y="476"/>
                  </a:cxn>
                  <a:cxn ang="0">
                    <a:pos x="676" y="474"/>
                  </a:cxn>
                  <a:cxn ang="0">
                    <a:pos x="668" y="118"/>
                  </a:cxn>
                  <a:cxn ang="0">
                    <a:pos x="670" y="118"/>
                  </a:cxn>
                </a:cxnLst>
                <a:rect l="0" t="0" r="r" b="b"/>
                <a:pathLst>
                  <a:path w="676" h="476">
                    <a:moveTo>
                      <a:pt x="670" y="118"/>
                    </a:moveTo>
                    <a:lnTo>
                      <a:pt x="662" y="26"/>
                    </a:lnTo>
                    <a:lnTo>
                      <a:pt x="50" y="0"/>
                    </a:lnTo>
                    <a:lnTo>
                      <a:pt x="0" y="466"/>
                    </a:lnTo>
                    <a:lnTo>
                      <a:pt x="594" y="476"/>
                    </a:lnTo>
                    <a:lnTo>
                      <a:pt x="676" y="474"/>
                    </a:lnTo>
                    <a:lnTo>
                      <a:pt x="668" y="118"/>
                    </a:lnTo>
                    <a:lnTo>
                      <a:pt x="670" y="11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1" name="Freeform 2863"/>
              <p:cNvSpPr>
                <a:spLocks/>
              </p:cNvSpPr>
              <p:nvPr/>
            </p:nvSpPr>
            <p:spPr bwMode="auto">
              <a:xfrm>
                <a:off x="1884582" y="2266763"/>
                <a:ext cx="953838" cy="1745703"/>
              </a:xfrm>
              <a:custGeom>
                <a:avLst/>
                <a:gdLst/>
                <a:ahLst/>
                <a:cxnLst>
                  <a:cxn ang="0">
                    <a:pos x="694" y="1314"/>
                  </a:cxn>
                  <a:cxn ang="0">
                    <a:pos x="682" y="1260"/>
                  </a:cxn>
                  <a:cxn ang="0">
                    <a:pos x="732" y="1150"/>
                  </a:cxn>
                  <a:cxn ang="0">
                    <a:pos x="742" y="1140"/>
                  </a:cxn>
                  <a:cxn ang="0">
                    <a:pos x="712" y="1044"/>
                  </a:cxn>
                  <a:cxn ang="0">
                    <a:pos x="324" y="482"/>
                  </a:cxn>
                  <a:cxn ang="0">
                    <a:pos x="334" y="454"/>
                  </a:cxn>
                  <a:cxn ang="0">
                    <a:pos x="324" y="426"/>
                  </a:cxn>
                  <a:cxn ang="0">
                    <a:pos x="402" y="98"/>
                  </a:cxn>
                  <a:cxn ang="0">
                    <a:pos x="70" y="8"/>
                  </a:cxn>
                  <a:cxn ang="0">
                    <a:pos x="68" y="0"/>
                  </a:cxn>
                  <a:cxn ang="0">
                    <a:pos x="70" y="34"/>
                  </a:cxn>
                  <a:cxn ang="0">
                    <a:pos x="0" y="156"/>
                  </a:cxn>
                  <a:cxn ang="0">
                    <a:pos x="42" y="278"/>
                  </a:cxn>
                  <a:cxn ang="0">
                    <a:pos x="32" y="384"/>
                  </a:cxn>
                  <a:cxn ang="0">
                    <a:pos x="102" y="534"/>
                  </a:cxn>
                  <a:cxn ang="0">
                    <a:pos x="102" y="614"/>
                  </a:cxn>
                  <a:cxn ang="0">
                    <a:pos x="122" y="682"/>
                  </a:cxn>
                  <a:cxn ang="0">
                    <a:pos x="90" y="734"/>
                  </a:cxn>
                  <a:cxn ang="0">
                    <a:pos x="190" y="870"/>
                  </a:cxn>
                  <a:cxn ang="0">
                    <a:pos x="190" y="1006"/>
                  </a:cxn>
                  <a:cxn ang="0">
                    <a:pos x="360" y="1114"/>
                  </a:cxn>
                  <a:cxn ang="0">
                    <a:pos x="360" y="1178"/>
                  </a:cxn>
                  <a:cxn ang="0">
                    <a:pos x="450" y="1236"/>
                  </a:cxn>
                  <a:cxn ang="0">
                    <a:pos x="450" y="1342"/>
                  </a:cxn>
                  <a:cxn ang="0">
                    <a:pos x="668" y="1354"/>
                  </a:cxn>
                  <a:cxn ang="0">
                    <a:pos x="672" y="1358"/>
                  </a:cxn>
                  <a:cxn ang="0">
                    <a:pos x="668" y="1354"/>
                  </a:cxn>
                  <a:cxn ang="0">
                    <a:pos x="694" y="1314"/>
                  </a:cxn>
                </a:cxnLst>
                <a:rect l="0" t="0" r="r" b="b"/>
                <a:pathLst>
                  <a:path w="742" h="1358">
                    <a:moveTo>
                      <a:pt x="694" y="1314"/>
                    </a:moveTo>
                    <a:lnTo>
                      <a:pt x="682" y="1260"/>
                    </a:lnTo>
                    <a:lnTo>
                      <a:pt x="732" y="1150"/>
                    </a:lnTo>
                    <a:lnTo>
                      <a:pt x="742" y="1140"/>
                    </a:lnTo>
                    <a:lnTo>
                      <a:pt x="712" y="1044"/>
                    </a:lnTo>
                    <a:lnTo>
                      <a:pt x="324" y="482"/>
                    </a:lnTo>
                    <a:lnTo>
                      <a:pt x="334" y="454"/>
                    </a:lnTo>
                    <a:lnTo>
                      <a:pt x="324" y="426"/>
                    </a:lnTo>
                    <a:lnTo>
                      <a:pt x="402" y="98"/>
                    </a:lnTo>
                    <a:lnTo>
                      <a:pt x="70" y="8"/>
                    </a:lnTo>
                    <a:lnTo>
                      <a:pt x="68" y="0"/>
                    </a:lnTo>
                    <a:lnTo>
                      <a:pt x="70" y="34"/>
                    </a:lnTo>
                    <a:lnTo>
                      <a:pt x="0" y="156"/>
                    </a:lnTo>
                    <a:lnTo>
                      <a:pt x="42" y="278"/>
                    </a:lnTo>
                    <a:lnTo>
                      <a:pt x="32" y="384"/>
                    </a:lnTo>
                    <a:lnTo>
                      <a:pt x="102" y="534"/>
                    </a:lnTo>
                    <a:lnTo>
                      <a:pt x="102" y="614"/>
                    </a:lnTo>
                    <a:lnTo>
                      <a:pt x="122" y="682"/>
                    </a:lnTo>
                    <a:lnTo>
                      <a:pt x="90" y="734"/>
                    </a:lnTo>
                    <a:lnTo>
                      <a:pt x="190" y="870"/>
                    </a:lnTo>
                    <a:lnTo>
                      <a:pt x="190" y="1006"/>
                    </a:lnTo>
                    <a:lnTo>
                      <a:pt x="360" y="1114"/>
                    </a:lnTo>
                    <a:lnTo>
                      <a:pt x="360" y="1178"/>
                    </a:lnTo>
                    <a:lnTo>
                      <a:pt x="450" y="1236"/>
                    </a:lnTo>
                    <a:lnTo>
                      <a:pt x="450" y="1342"/>
                    </a:lnTo>
                    <a:lnTo>
                      <a:pt x="668" y="1354"/>
                    </a:lnTo>
                    <a:lnTo>
                      <a:pt x="672" y="1358"/>
                    </a:lnTo>
                    <a:lnTo>
                      <a:pt x="668" y="1354"/>
                    </a:lnTo>
                    <a:lnTo>
                      <a:pt x="694" y="131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2" name="Freeform 2864"/>
              <p:cNvSpPr>
                <a:spLocks/>
              </p:cNvSpPr>
              <p:nvPr/>
            </p:nvSpPr>
            <p:spPr bwMode="auto">
              <a:xfrm>
                <a:off x="3321766" y="2089364"/>
                <a:ext cx="843285" cy="707023"/>
              </a:xfrm>
              <a:custGeom>
                <a:avLst/>
                <a:gdLst/>
                <a:ahLst/>
                <a:cxnLst>
                  <a:cxn ang="0">
                    <a:pos x="26" y="388"/>
                  </a:cxn>
                  <a:cxn ang="0">
                    <a:pos x="28" y="388"/>
                  </a:cxn>
                  <a:cxn ang="0">
                    <a:pos x="0" y="508"/>
                  </a:cxn>
                  <a:cxn ang="0">
                    <a:pos x="192" y="536"/>
                  </a:cxn>
                  <a:cxn ang="0">
                    <a:pos x="650" y="550"/>
                  </a:cxn>
                  <a:cxn ang="0">
                    <a:pos x="656" y="40"/>
                  </a:cxn>
                  <a:cxn ang="0">
                    <a:pos x="64" y="0"/>
                  </a:cxn>
                  <a:cxn ang="0">
                    <a:pos x="26" y="388"/>
                  </a:cxn>
                </a:cxnLst>
                <a:rect l="0" t="0" r="r" b="b"/>
                <a:pathLst>
                  <a:path w="656" h="550">
                    <a:moveTo>
                      <a:pt x="26" y="388"/>
                    </a:moveTo>
                    <a:lnTo>
                      <a:pt x="28" y="388"/>
                    </a:lnTo>
                    <a:lnTo>
                      <a:pt x="0" y="508"/>
                    </a:lnTo>
                    <a:lnTo>
                      <a:pt x="192" y="536"/>
                    </a:lnTo>
                    <a:lnTo>
                      <a:pt x="650" y="550"/>
                    </a:lnTo>
                    <a:lnTo>
                      <a:pt x="656" y="40"/>
                    </a:lnTo>
                    <a:lnTo>
                      <a:pt x="64" y="0"/>
                    </a:lnTo>
                    <a:lnTo>
                      <a:pt x="26" y="38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3" name="Freeform 2865"/>
              <p:cNvSpPr>
                <a:spLocks/>
              </p:cNvSpPr>
              <p:nvPr/>
            </p:nvSpPr>
            <p:spPr bwMode="auto">
              <a:xfrm>
                <a:off x="5828483" y="3184606"/>
                <a:ext cx="979548" cy="416501"/>
              </a:xfrm>
              <a:custGeom>
                <a:avLst/>
                <a:gdLst/>
                <a:ahLst/>
                <a:cxnLst>
                  <a:cxn ang="0">
                    <a:pos x="206" y="304"/>
                  </a:cxn>
                  <a:cxn ang="0">
                    <a:pos x="554" y="246"/>
                  </a:cxn>
                  <a:cxn ang="0">
                    <a:pos x="580" y="154"/>
                  </a:cxn>
                  <a:cxn ang="0">
                    <a:pos x="752" y="30"/>
                  </a:cxn>
                  <a:cxn ang="0">
                    <a:pos x="762" y="0"/>
                  </a:cxn>
                  <a:cxn ang="0">
                    <a:pos x="762" y="0"/>
                  </a:cxn>
                  <a:cxn ang="0">
                    <a:pos x="332" y="88"/>
                  </a:cxn>
                  <a:cxn ang="0">
                    <a:pos x="54" y="134"/>
                  </a:cxn>
                  <a:cxn ang="0">
                    <a:pos x="32" y="134"/>
                  </a:cxn>
                  <a:cxn ang="0">
                    <a:pos x="32" y="230"/>
                  </a:cxn>
                  <a:cxn ang="0">
                    <a:pos x="30" y="230"/>
                  </a:cxn>
                  <a:cxn ang="0">
                    <a:pos x="0" y="324"/>
                  </a:cxn>
                  <a:cxn ang="0">
                    <a:pos x="206" y="304"/>
                  </a:cxn>
                </a:cxnLst>
                <a:rect l="0" t="0" r="r" b="b"/>
                <a:pathLst>
                  <a:path w="762" h="324">
                    <a:moveTo>
                      <a:pt x="206" y="304"/>
                    </a:moveTo>
                    <a:lnTo>
                      <a:pt x="554" y="246"/>
                    </a:lnTo>
                    <a:lnTo>
                      <a:pt x="580" y="154"/>
                    </a:lnTo>
                    <a:lnTo>
                      <a:pt x="752" y="30"/>
                    </a:lnTo>
                    <a:lnTo>
                      <a:pt x="762" y="0"/>
                    </a:lnTo>
                    <a:lnTo>
                      <a:pt x="762" y="0"/>
                    </a:lnTo>
                    <a:lnTo>
                      <a:pt x="332" y="88"/>
                    </a:lnTo>
                    <a:lnTo>
                      <a:pt x="54" y="134"/>
                    </a:lnTo>
                    <a:lnTo>
                      <a:pt x="32" y="134"/>
                    </a:lnTo>
                    <a:lnTo>
                      <a:pt x="32" y="230"/>
                    </a:lnTo>
                    <a:lnTo>
                      <a:pt x="30" y="230"/>
                    </a:lnTo>
                    <a:lnTo>
                      <a:pt x="0" y="324"/>
                    </a:lnTo>
                    <a:lnTo>
                      <a:pt x="206" y="30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4" name="Freeform 2866"/>
              <p:cNvSpPr>
                <a:spLocks/>
              </p:cNvSpPr>
              <p:nvPr/>
            </p:nvSpPr>
            <p:spPr bwMode="auto">
              <a:xfrm>
                <a:off x="6545789" y="2963501"/>
                <a:ext cx="1012971" cy="537337"/>
              </a:xfrm>
              <a:custGeom>
                <a:avLst/>
                <a:gdLst/>
                <a:ahLst/>
                <a:cxnLst>
                  <a:cxn ang="0">
                    <a:pos x="196" y="202"/>
                  </a:cxn>
                  <a:cxn ang="0">
                    <a:pos x="26" y="326"/>
                  </a:cxn>
                  <a:cxn ang="0">
                    <a:pos x="0" y="418"/>
                  </a:cxn>
                  <a:cxn ang="0">
                    <a:pos x="62" y="408"/>
                  </a:cxn>
                  <a:cxn ang="0">
                    <a:pos x="312" y="310"/>
                  </a:cxn>
                  <a:cxn ang="0">
                    <a:pos x="344" y="344"/>
                  </a:cxn>
                  <a:cxn ang="0">
                    <a:pos x="424" y="326"/>
                  </a:cxn>
                  <a:cxn ang="0">
                    <a:pos x="558" y="414"/>
                  </a:cxn>
                  <a:cxn ang="0">
                    <a:pos x="560" y="408"/>
                  </a:cxn>
                  <a:cxn ang="0">
                    <a:pos x="628" y="368"/>
                  </a:cxn>
                  <a:cxn ang="0">
                    <a:pos x="628" y="328"/>
                  </a:cxn>
                  <a:cxn ang="0">
                    <a:pos x="678" y="248"/>
                  </a:cxn>
                  <a:cxn ang="0">
                    <a:pos x="738" y="248"/>
                  </a:cxn>
                  <a:cxn ang="0">
                    <a:pos x="788" y="128"/>
                  </a:cxn>
                  <a:cxn ang="0">
                    <a:pos x="788" y="46"/>
                  </a:cxn>
                  <a:cxn ang="0">
                    <a:pos x="754" y="0"/>
                  </a:cxn>
                  <a:cxn ang="0">
                    <a:pos x="208" y="170"/>
                  </a:cxn>
                  <a:cxn ang="0">
                    <a:pos x="196" y="202"/>
                  </a:cxn>
                </a:cxnLst>
                <a:rect l="0" t="0" r="r" b="b"/>
                <a:pathLst>
                  <a:path w="788" h="418">
                    <a:moveTo>
                      <a:pt x="196" y="202"/>
                    </a:moveTo>
                    <a:lnTo>
                      <a:pt x="26" y="326"/>
                    </a:lnTo>
                    <a:lnTo>
                      <a:pt x="0" y="418"/>
                    </a:lnTo>
                    <a:lnTo>
                      <a:pt x="62" y="408"/>
                    </a:lnTo>
                    <a:lnTo>
                      <a:pt x="312" y="310"/>
                    </a:lnTo>
                    <a:lnTo>
                      <a:pt x="344" y="344"/>
                    </a:lnTo>
                    <a:lnTo>
                      <a:pt x="424" y="326"/>
                    </a:lnTo>
                    <a:lnTo>
                      <a:pt x="558" y="414"/>
                    </a:lnTo>
                    <a:lnTo>
                      <a:pt x="560" y="408"/>
                    </a:lnTo>
                    <a:lnTo>
                      <a:pt x="628" y="368"/>
                    </a:lnTo>
                    <a:lnTo>
                      <a:pt x="628" y="328"/>
                    </a:lnTo>
                    <a:lnTo>
                      <a:pt x="678" y="248"/>
                    </a:lnTo>
                    <a:lnTo>
                      <a:pt x="738" y="248"/>
                    </a:lnTo>
                    <a:lnTo>
                      <a:pt x="788" y="128"/>
                    </a:lnTo>
                    <a:lnTo>
                      <a:pt x="788" y="46"/>
                    </a:lnTo>
                    <a:lnTo>
                      <a:pt x="754" y="0"/>
                    </a:lnTo>
                    <a:lnTo>
                      <a:pt x="208" y="170"/>
                    </a:lnTo>
                    <a:lnTo>
                      <a:pt x="196" y="20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5" name="Freeform 2867"/>
              <p:cNvSpPr>
                <a:spLocks/>
              </p:cNvSpPr>
              <p:nvPr/>
            </p:nvSpPr>
            <p:spPr bwMode="auto">
              <a:xfrm>
                <a:off x="7551047" y="2158781"/>
                <a:ext cx="141405" cy="97698"/>
              </a:xfrm>
              <a:custGeom>
                <a:avLst/>
                <a:gdLst/>
                <a:ahLst/>
                <a:cxnLst>
                  <a:cxn ang="0">
                    <a:pos x="14" y="38"/>
                  </a:cxn>
                  <a:cxn ang="0">
                    <a:pos x="0" y="76"/>
                  </a:cxn>
                  <a:cxn ang="0">
                    <a:pos x="46" y="52"/>
                  </a:cxn>
                  <a:cxn ang="0">
                    <a:pos x="106" y="12"/>
                  </a:cxn>
                  <a:cxn ang="0">
                    <a:pos x="110" y="0"/>
                  </a:cxn>
                  <a:cxn ang="0">
                    <a:pos x="98" y="0"/>
                  </a:cxn>
                  <a:cxn ang="0">
                    <a:pos x="14" y="38"/>
                  </a:cxn>
                </a:cxnLst>
                <a:rect l="0" t="0" r="r" b="b"/>
                <a:pathLst>
                  <a:path w="110" h="76">
                    <a:moveTo>
                      <a:pt x="14" y="38"/>
                    </a:moveTo>
                    <a:lnTo>
                      <a:pt x="0" y="76"/>
                    </a:lnTo>
                    <a:lnTo>
                      <a:pt x="46" y="52"/>
                    </a:lnTo>
                    <a:lnTo>
                      <a:pt x="106" y="12"/>
                    </a:lnTo>
                    <a:lnTo>
                      <a:pt x="110" y="0"/>
                    </a:lnTo>
                    <a:lnTo>
                      <a:pt x="98" y="0"/>
                    </a:lnTo>
                    <a:lnTo>
                      <a:pt x="14" y="3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6" name="Freeform 2868"/>
              <p:cNvSpPr>
                <a:spLocks/>
              </p:cNvSpPr>
              <p:nvPr/>
            </p:nvSpPr>
            <p:spPr bwMode="auto">
              <a:xfrm>
                <a:off x="4365589" y="2924936"/>
                <a:ext cx="899847" cy="465349"/>
              </a:xfrm>
              <a:custGeom>
                <a:avLst/>
                <a:gdLst/>
                <a:ahLst/>
                <a:cxnLst>
                  <a:cxn ang="0">
                    <a:pos x="626" y="62"/>
                  </a:cxn>
                  <a:cxn ang="0">
                    <a:pos x="642" y="0"/>
                  </a:cxn>
                  <a:cxn ang="0">
                    <a:pos x="606" y="0"/>
                  </a:cxn>
                  <a:cxn ang="0">
                    <a:pos x="608" y="0"/>
                  </a:cxn>
                  <a:cxn ang="0">
                    <a:pos x="0" y="8"/>
                  </a:cxn>
                  <a:cxn ang="0">
                    <a:pos x="10" y="362"/>
                  </a:cxn>
                  <a:cxn ang="0">
                    <a:pos x="700" y="338"/>
                  </a:cxn>
                  <a:cxn ang="0">
                    <a:pos x="680" y="90"/>
                  </a:cxn>
                  <a:cxn ang="0">
                    <a:pos x="626" y="62"/>
                  </a:cxn>
                </a:cxnLst>
                <a:rect l="0" t="0" r="r" b="b"/>
                <a:pathLst>
                  <a:path w="700" h="362">
                    <a:moveTo>
                      <a:pt x="626" y="62"/>
                    </a:moveTo>
                    <a:lnTo>
                      <a:pt x="642" y="0"/>
                    </a:lnTo>
                    <a:lnTo>
                      <a:pt x="606" y="0"/>
                    </a:lnTo>
                    <a:lnTo>
                      <a:pt x="608" y="0"/>
                    </a:lnTo>
                    <a:lnTo>
                      <a:pt x="0" y="8"/>
                    </a:lnTo>
                    <a:lnTo>
                      <a:pt x="10" y="362"/>
                    </a:lnTo>
                    <a:lnTo>
                      <a:pt x="700" y="338"/>
                    </a:lnTo>
                    <a:lnTo>
                      <a:pt x="680" y="90"/>
                    </a:lnTo>
                    <a:lnTo>
                      <a:pt x="626" y="6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7" name="Freeform 2869"/>
              <p:cNvSpPr>
                <a:spLocks/>
              </p:cNvSpPr>
              <p:nvPr/>
            </p:nvSpPr>
            <p:spPr bwMode="auto">
              <a:xfrm>
                <a:off x="6011023" y="1824552"/>
                <a:ext cx="501343" cy="655603"/>
              </a:xfrm>
              <a:custGeom>
                <a:avLst/>
                <a:gdLst/>
                <a:ahLst/>
                <a:cxnLst>
                  <a:cxn ang="0">
                    <a:pos x="350" y="464"/>
                  </a:cxn>
                  <a:cxn ang="0">
                    <a:pos x="338" y="460"/>
                  </a:cxn>
                  <a:cxn ang="0">
                    <a:pos x="390" y="284"/>
                  </a:cxn>
                  <a:cxn ang="0">
                    <a:pos x="320" y="164"/>
                  </a:cxn>
                  <a:cxn ang="0">
                    <a:pos x="280" y="190"/>
                  </a:cxn>
                  <a:cxn ang="0">
                    <a:pos x="250" y="14"/>
                  </a:cxn>
                  <a:cxn ang="0">
                    <a:pos x="100" y="0"/>
                  </a:cxn>
                  <a:cxn ang="0">
                    <a:pos x="100" y="28"/>
                  </a:cxn>
                  <a:cxn ang="0">
                    <a:pos x="22" y="124"/>
                  </a:cxn>
                  <a:cxn ang="0">
                    <a:pos x="0" y="232"/>
                  </a:cxn>
                  <a:cxn ang="0">
                    <a:pos x="12" y="272"/>
                  </a:cxn>
                  <a:cxn ang="0">
                    <a:pos x="50" y="378"/>
                  </a:cxn>
                  <a:cxn ang="0">
                    <a:pos x="50" y="486"/>
                  </a:cxn>
                  <a:cxn ang="0">
                    <a:pos x="24" y="510"/>
                  </a:cxn>
                  <a:cxn ang="0">
                    <a:pos x="212" y="506"/>
                  </a:cxn>
                  <a:cxn ang="0">
                    <a:pos x="350" y="464"/>
                  </a:cxn>
                </a:cxnLst>
                <a:rect l="0" t="0" r="r" b="b"/>
                <a:pathLst>
                  <a:path w="390" h="510">
                    <a:moveTo>
                      <a:pt x="350" y="464"/>
                    </a:moveTo>
                    <a:lnTo>
                      <a:pt x="338" y="460"/>
                    </a:lnTo>
                    <a:lnTo>
                      <a:pt x="390" y="284"/>
                    </a:lnTo>
                    <a:lnTo>
                      <a:pt x="320" y="164"/>
                    </a:lnTo>
                    <a:lnTo>
                      <a:pt x="280" y="190"/>
                    </a:lnTo>
                    <a:lnTo>
                      <a:pt x="250" y="14"/>
                    </a:lnTo>
                    <a:lnTo>
                      <a:pt x="100" y="0"/>
                    </a:lnTo>
                    <a:lnTo>
                      <a:pt x="100" y="28"/>
                    </a:lnTo>
                    <a:lnTo>
                      <a:pt x="22" y="124"/>
                    </a:lnTo>
                    <a:lnTo>
                      <a:pt x="0" y="232"/>
                    </a:lnTo>
                    <a:lnTo>
                      <a:pt x="12" y="272"/>
                    </a:lnTo>
                    <a:lnTo>
                      <a:pt x="50" y="378"/>
                    </a:lnTo>
                    <a:lnTo>
                      <a:pt x="50" y="486"/>
                    </a:lnTo>
                    <a:lnTo>
                      <a:pt x="24" y="510"/>
                    </a:lnTo>
                    <a:lnTo>
                      <a:pt x="212" y="506"/>
                    </a:lnTo>
                    <a:lnTo>
                      <a:pt x="350" y="46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8" name="Freeform 2870"/>
              <p:cNvSpPr>
                <a:spLocks/>
              </p:cNvSpPr>
              <p:nvPr/>
            </p:nvSpPr>
            <p:spPr bwMode="auto">
              <a:xfrm>
                <a:off x="2308796" y="2392741"/>
                <a:ext cx="694168" cy="1210937"/>
              </a:xfrm>
              <a:custGeom>
                <a:avLst/>
                <a:gdLst/>
                <a:ahLst/>
                <a:cxnLst>
                  <a:cxn ang="0">
                    <a:pos x="468" y="688"/>
                  </a:cxn>
                  <a:cxn ang="0">
                    <a:pos x="540" y="98"/>
                  </a:cxn>
                  <a:cxn ang="0">
                    <a:pos x="302" y="50"/>
                  </a:cxn>
                  <a:cxn ang="0">
                    <a:pos x="302" y="46"/>
                  </a:cxn>
                  <a:cxn ang="0">
                    <a:pos x="76" y="0"/>
                  </a:cxn>
                  <a:cxn ang="0">
                    <a:pos x="0" y="328"/>
                  </a:cxn>
                  <a:cxn ang="0">
                    <a:pos x="10" y="356"/>
                  </a:cxn>
                  <a:cxn ang="0">
                    <a:pos x="0" y="384"/>
                  </a:cxn>
                  <a:cxn ang="0">
                    <a:pos x="384" y="942"/>
                  </a:cxn>
                  <a:cxn ang="0">
                    <a:pos x="414" y="794"/>
                  </a:cxn>
                  <a:cxn ang="0">
                    <a:pos x="454" y="806"/>
                  </a:cxn>
                  <a:cxn ang="0">
                    <a:pos x="468" y="688"/>
                  </a:cxn>
                  <a:cxn ang="0">
                    <a:pos x="468" y="688"/>
                  </a:cxn>
                  <a:cxn ang="0">
                    <a:pos x="468" y="688"/>
                  </a:cxn>
                </a:cxnLst>
                <a:rect l="0" t="0" r="r" b="b"/>
                <a:pathLst>
                  <a:path w="540" h="942">
                    <a:moveTo>
                      <a:pt x="468" y="688"/>
                    </a:moveTo>
                    <a:lnTo>
                      <a:pt x="540" y="98"/>
                    </a:lnTo>
                    <a:lnTo>
                      <a:pt x="302" y="50"/>
                    </a:lnTo>
                    <a:lnTo>
                      <a:pt x="302" y="46"/>
                    </a:lnTo>
                    <a:lnTo>
                      <a:pt x="76" y="0"/>
                    </a:lnTo>
                    <a:lnTo>
                      <a:pt x="0" y="328"/>
                    </a:lnTo>
                    <a:lnTo>
                      <a:pt x="10" y="356"/>
                    </a:lnTo>
                    <a:lnTo>
                      <a:pt x="0" y="384"/>
                    </a:lnTo>
                    <a:lnTo>
                      <a:pt x="384" y="942"/>
                    </a:lnTo>
                    <a:lnTo>
                      <a:pt x="414" y="794"/>
                    </a:lnTo>
                    <a:lnTo>
                      <a:pt x="454" y="806"/>
                    </a:lnTo>
                    <a:lnTo>
                      <a:pt x="468" y="688"/>
                    </a:lnTo>
                    <a:lnTo>
                      <a:pt x="468" y="688"/>
                    </a:lnTo>
                    <a:lnTo>
                      <a:pt x="468" y="68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9" name="Freeform 2871"/>
              <p:cNvSpPr>
                <a:spLocks/>
              </p:cNvSpPr>
              <p:nvPr/>
            </p:nvSpPr>
            <p:spPr bwMode="auto">
              <a:xfrm>
                <a:off x="7664170" y="1947960"/>
                <a:ext cx="110553" cy="200537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26" y="156"/>
                  </a:cxn>
                  <a:cxn ang="0">
                    <a:pos x="48" y="108"/>
                  </a:cxn>
                  <a:cxn ang="0">
                    <a:pos x="86" y="40"/>
                  </a:cxn>
                  <a:cxn ang="0">
                    <a:pos x="50" y="0"/>
                  </a:cxn>
                  <a:cxn ang="0">
                    <a:pos x="0" y="18"/>
                  </a:cxn>
                </a:cxnLst>
                <a:rect l="0" t="0" r="r" b="b"/>
                <a:pathLst>
                  <a:path w="86" h="156">
                    <a:moveTo>
                      <a:pt x="0" y="18"/>
                    </a:moveTo>
                    <a:lnTo>
                      <a:pt x="26" y="156"/>
                    </a:lnTo>
                    <a:lnTo>
                      <a:pt x="48" y="108"/>
                    </a:lnTo>
                    <a:lnTo>
                      <a:pt x="86" y="40"/>
                    </a:lnTo>
                    <a:lnTo>
                      <a:pt x="50" y="0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0" name="Freeform 2872"/>
              <p:cNvSpPr>
                <a:spLocks/>
              </p:cNvSpPr>
              <p:nvPr/>
            </p:nvSpPr>
            <p:spPr bwMode="auto">
              <a:xfrm>
                <a:off x="6599780" y="2608704"/>
                <a:ext cx="912702" cy="609325"/>
              </a:xfrm>
              <a:custGeom>
                <a:avLst/>
                <a:gdLst/>
                <a:ahLst/>
                <a:cxnLst>
                  <a:cxn ang="0">
                    <a:pos x="492" y="106"/>
                  </a:cxn>
                  <a:cxn ang="0">
                    <a:pos x="502" y="26"/>
                  </a:cxn>
                  <a:cxn ang="0">
                    <a:pos x="442" y="0"/>
                  </a:cxn>
                  <a:cxn ang="0">
                    <a:pos x="424" y="26"/>
                  </a:cxn>
                  <a:cxn ang="0">
                    <a:pos x="386" y="26"/>
                  </a:cxn>
                  <a:cxn ang="0">
                    <a:pos x="344" y="84"/>
                  </a:cxn>
                  <a:cxn ang="0">
                    <a:pos x="314" y="158"/>
                  </a:cxn>
                  <a:cxn ang="0">
                    <a:pos x="286" y="132"/>
                  </a:cxn>
                  <a:cxn ang="0">
                    <a:pos x="256" y="296"/>
                  </a:cxn>
                  <a:cxn ang="0">
                    <a:pos x="184" y="340"/>
                  </a:cxn>
                  <a:cxn ang="0">
                    <a:pos x="112" y="306"/>
                  </a:cxn>
                  <a:cxn ang="0">
                    <a:pos x="60" y="402"/>
                  </a:cxn>
                  <a:cxn ang="0">
                    <a:pos x="0" y="474"/>
                  </a:cxn>
                  <a:cxn ang="0">
                    <a:pos x="164" y="444"/>
                  </a:cxn>
                  <a:cxn ang="0">
                    <a:pos x="710" y="272"/>
                  </a:cxn>
                  <a:cxn ang="0">
                    <a:pos x="666" y="214"/>
                  </a:cxn>
                  <a:cxn ang="0">
                    <a:pos x="698" y="96"/>
                  </a:cxn>
                  <a:cxn ang="0">
                    <a:pos x="614" y="116"/>
                  </a:cxn>
                  <a:cxn ang="0">
                    <a:pos x="492" y="106"/>
                  </a:cxn>
                </a:cxnLst>
                <a:rect l="0" t="0" r="r" b="b"/>
                <a:pathLst>
                  <a:path w="710" h="474">
                    <a:moveTo>
                      <a:pt x="492" y="106"/>
                    </a:moveTo>
                    <a:lnTo>
                      <a:pt x="502" y="26"/>
                    </a:lnTo>
                    <a:lnTo>
                      <a:pt x="442" y="0"/>
                    </a:lnTo>
                    <a:lnTo>
                      <a:pt x="424" y="26"/>
                    </a:lnTo>
                    <a:lnTo>
                      <a:pt x="386" y="26"/>
                    </a:lnTo>
                    <a:lnTo>
                      <a:pt x="344" y="84"/>
                    </a:lnTo>
                    <a:lnTo>
                      <a:pt x="314" y="158"/>
                    </a:lnTo>
                    <a:lnTo>
                      <a:pt x="286" y="132"/>
                    </a:lnTo>
                    <a:lnTo>
                      <a:pt x="256" y="296"/>
                    </a:lnTo>
                    <a:lnTo>
                      <a:pt x="184" y="340"/>
                    </a:lnTo>
                    <a:lnTo>
                      <a:pt x="112" y="306"/>
                    </a:lnTo>
                    <a:lnTo>
                      <a:pt x="60" y="402"/>
                    </a:lnTo>
                    <a:lnTo>
                      <a:pt x="0" y="474"/>
                    </a:lnTo>
                    <a:lnTo>
                      <a:pt x="164" y="444"/>
                    </a:lnTo>
                    <a:lnTo>
                      <a:pt x="710" y="272"/>
                    </a:lnTo>
                    <a:lnTo>
                      <a:pt x="666" y="214"/>
                    </a:lnTo>
                    <a:lnTo>
                      <a:pt x="698" y="96"/>
                    </a:lnTo>
                    <a:lnTo>
                      <a:pt x="614" y="116"/>
                    </a:lnTo>
                    <a:lnTo>
                      <a:pt x="492" y="10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1" name="Freeform 2873"/>
              <p:cNvSpPr>
                <a:spLocks/>
              </p:cNvSpPr>
              <p:nvPr/>
            </p:nvSpPr>
            <p:spPr bwMode="auto">
              <a:xfrm>
                <a:off x="6939151" y="2469871"/>
                <a:ext cx="568189" cy="285380"/>
              </a:xfrm>
              <a:custGeom>
                <a:avLst/>
                <a:gdLst/>
                <a:ahLst/>
                <a:cxnLst>
                  <a:cxn ang="0">
                    <a:pos x="316" y="0"/>
                  </a:cxn>
                  <a:cxn ang="0">
                    <a:pos x="0" y="108"/>
                  </a:cxn>
                  <a:cxn ang="0">
                    <a:pos x="24" y="150"/>
                  </a:cxn>
                  <a:cxn ang="0">
                    <a:pos x="126" y="94"/>
                  </a:cxn>
                  <a:cxn ang="0">
                    <a:pos x="178" y="106"/>
                  </a:cxn>
                  <a:cxn ang="0">
                    <a:pos x="178" y="104"/>
                  </a:cxn>
                  <a:cxn ang="0">
                    <a:pos x="180" y="106"/>
                  </a:cxn>
                  <a:cxn ang="0">
                    <a:pos x="180" y="106"/>
                  </a:cxn>
                  <a:cxn ang="0">
                    <a:pos x="242" y="132"/>
                  </a:cxn>
                  <a:cxn ang="0">
                    <a:pos x="232" y="212"/>
                  </a:cxn>
                  <a:cxn ang="0">
                    <a:pos x="354" y="222"/>
                  </a:cxn>
                  <a:cxn ang="0">
                    <a:pos x="436" y="200"/>
                  </a:cxn>
                  <a:cxn ang="0">
                    <a:pos x="442" y="174"/>
                  </a:cxn>
                  <a:cxn ang="0">
                    <a:pos x="442" y="134"/>
                  </a:cxn>
                  <a:cxn ang="0">
                    <a:pos x="374" y="162"/>
                  </a:cxn>
                  <a:cxn ang="0">
                    <a:pos x="316" y="0"/>
                  </a:cxn>
                </a:cxnLst>
                <a:rect l="0" t="0" r="r" b="b"/>
                <a:pathLst>
                  <a:path w="442" h="222">
                    <a:moveTo>
                      <a:pt x="316" y="0"/>
                    </a:moveTo>
                    <a:lnTo>
                      <a:pt x="0" y="108"/>
                    </a:lnTo>
                    <a:lnTo>
                      <a:pt x="24" y="150"/>
                    </a:lnTo>
                    <a:lnTo>
                      <a:pt x="126" y="94"/>
                    </a:lnTo>
                    <a:lnTo>
                      <a:pt x="178" y="106"/>
                    </a:lnTo>
                    <a:lnTo>
                      <a:pt x="178" y="104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242" y="132"/>
                    </a:lnTo>
                    <a:lnTo>
                      <a:pt x="232" y="212"/>
                    </a:lnTo>
                    <a:lnTo>
                      <a:pt x="354" y="222"/>
                    </a:lnTo>
                    <a:lnTo>
                      <a:pt x="436" y="200"/>
                    </a:lnTo>
                    <a:lnTo>
                      <a:pt x="442" y="174"/>
                    </a:lnTo>
                    <a:lnTo>
                      <a:pt x="442" y="134"/>
                    </a:lnTo>
                    <a:lnTo>
                      <a:pt x="374" y="162"/>
                    </a:lnTo>
                    <a:lnTo>
                      <a:pt x="316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2" name="Freeform 2874"/>
              <p:cNvSpPr>
                <a:spLocks/>
              </p:cNvSpPr>
              <p:nvPr/>
            </p:nvSpPr>
            <p:spPr bwMode="auto">
              <a:xfrm>
                <a:off x="4363018" y="2932649"/>
                <a:ext cx="15426" cy="45763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8" y="356"/>
                  </a:cxn>
                  <a:cxn ang="0">
                    <a:pos x="12" y="356"/>
                  </a:cxn>
                  <a:cxn ang="0">
                    <a:pos x="2" y="2"/>
                  </a:cxn>
                  <a:cxn ang="0">
                    <a:pos x="2" y="2"/>
                  </a:cxn>
                </a:cxnLst>
                <a:rect l="0" t="0" r="r" b="b"/>
                <a:pathLst>
                  <a:path w="12" h="356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8" y="356"/>
                    </a:lnTo>
                    <a:lnTo>
                      <a:pt x="12" y="356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3" name="Freeform 2875"/>
              <p:cNvSpPr>
                <a:spLocks/>
              </p:cNvSpPr>
              <p:nvPr/>
            </p:nvSpPr>
            <p:spPr bwMode="auto">
              <a:xfrm>
                <a:off x="5103463" y="2834952"/>
                <a:ext cx="2571" cy="25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4" name="Freeform 2876"/>
              <p:cNvSpPr>
                <a:spLocks/>
              </p:cNvSpPr>
              <p:nvPr/>
            </p:nvSpPr>
            <p:spPr bwMode="auto">
              <a:xfrm>
                <a:off x="5113747" y="2822097"/>
                <a:ext cx="444781" cy="15426"/>
              </a:xfrm>
              <a:custGeom>
                <a:avLst/>
                <a:gdLst/>
                <a:ahLst/>
                <a:cxnLst>
                  <a:cxn ang="0">
                    <a:pos x="346" y="0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346" y="4"/>
                  </a:cxn>
                  <a:cxn ang="0">
                    <a:pos x="346" y="0"/>
                  </a:cxn>
                </a:cxnLst>
                <a:rect l="0" t="0" r="r" b="b"/>
                <a:pathLst>
                  <a:path w="346" h="12">
                    <a:moveTo>
                      <a:pt x="346" y="0"/>
                    </a:moveTo>
                    <a:lnTo>
                      <a:pt x="0" y="10"/>
                    </a:lnTo>
                    <a:lnTo>
                      <a:pt x="0" y="12"/>
                    </a:lnTo>
                    <a:lnTo>
                      <a:pt x="346" y="4"/>
                    </a:lnTo>
                    <a:lnTo>
                      <a:pt x="346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5" name="Rectangle 2877"/>
              <p:cNvSpPr>
                <a:spLocks noChangeArrowheads="1"/>
              </p:cNvSpPr>
              <p:nvPr/>
            </p:nvSpPr>
            <p:spPr bwMode="auto">
              <a:xfrm>
                <a:off x="6157569" y="4300416"/>
                <a:ext cx="2571" cy="5142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6" name="Freeform 2878"/>
              <p:cNvSpPr>
                <a:spLocks/>
              </p:cNvSpPr>
              <p:nvPr/>
            </p:nvSpPr>
            <p:spPr bwMode="auto">
              <a:xfrm>
                <a:off x="6090724" y="3583110"/>
                <a:ext cx="69417" cy="7173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2" y="558"/>
                  </a:cxn>
                  <a:cxn ang="0">
                    <a:pos x="54" y="558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54" h="558">
                    <a:moveTo>
                      <a:pt x="0" y="0"/>
                    </a:moveTo>
                    <a:lnTo>
                      <a:pt x="52" y="558"/>
                    </a:lnTo>
                    <a:lnTo>
                      <a:pt x="54" y="558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7" name="Freeform 2879"/>
              <p:cNvSpPr>
                <a:spLocks/>
              </p:cNvSpPr>
              <p:nvPr/>
            </p:nvSpPr>
            <p:spPr bwMode="auto">
              <a:xfrm>
                <a:off x="6540647" y="3182035"/>
                <a:ext cx="272525" cy="318803"/>
              </a:xfrm>
              <a:custGeom>
                <a:avLst/>
                <a:gdLst/>
                <a:ahLst/>
                <a:cxnLst>
                  <a:cxn ang="0">
                    <a:pos x="26" y="156"/>
                  </a:cxn>
                  <a:cxn ang="0">
                    <a:pos x="0" y="248"/>
                  </a:cxn>
                  <a:cxn ang="0">
                    <a:pos x="4" y="248"/>
                  </a:cxn>
                  <a:cxn ang="0">
                    <a:pos x="30" y="156"/>
                  </a:cxn>
                  <a:cxn ang="0">
                    <a:pos x="200" y="32"/>
                  </a:cxn>
                  <a:cxn ang="0">
                    <a:pos x="212" y="0"/>
                  </a:cxn>
                  <a:cxn ang="0">
                    <a:pos x="208" y="2"/>
                  </a:cxn>
                  <a:cxn ang="0">
                    <a:pos x="198" y="32"/>
                  </a:cxn>
                  <a:cxn ang="0">
                    <a:pos x="26" y="156"/>
                  </a:cxn>
                </a:cxnLst>
                <a:rect l="0" t="0" r="r" b="b"/>
                <a:pathLst>
                  <a:path w="212" h="248">
                    <a:moveTo>
                      <a:pt x="26" y="156"/>
                    </a:moveTo>
                    <a:lnTo>
                      <a:pt x="0" y="248"/>
                    </a:lnTo>
                    <a:lnTo>
                      <a:pt x="4" y="248"/>
                    </a:lnTo>
                    <a:lnTo>
                      <a:pt x="30" y="156"/>
                    </a:lnTo>
                    <a:lnTo>
                      <a:pt x="200" y="32"/>
                    </a:lnTo>
                    <a:lnTo>
                      <a:pt x="212" y="0"/>
                    </a:lnTo>
                    <a:lnTo>
                      <a:pt x="208" y="2"/>
                    </a:lnTo>
                    <a:lnTo>
                      <a:pt x="198" y="32"/>
                    </a:lnTo>
                    <a:lnTo>
                      <a:pt x="26" y="15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8" name="Freeform 2880"/>
              <p:cNvSpPr>
                <a:spLocks/>
              </p:cNvSpPr>
              <p:nvPr/>
            </p:nvSpPr>
            <p:spPr bwMode="auto">
              <a:xfrm>
                <a:off x="6741184" y="2996924"/>
                <a:ext cx="2571" cy="25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9" name="Freeform 2881"/>
              <p:cNvSpPr>
                <a:spLocks/>
              </p:cNvSpPr>
              <p:nvPr/>
            </p:nvSpPr>
            <p:spPr bwMode="auto">
              <a:xfrm>
                <a:off x="6592067" y="2999495"/>
                <a:ext cx="151688" cy="221105"/>
              </a:xfrm>
              <a:custGeom>
                <a:avLst/>
                <a:gdLst/>
                <a:ahLst/>
                <a:cxnLst>
                  <a:cxn ang="0">
                    <a:pos x="64" y="98"/>
                  </a:cxn>
                  <a:cxn ang="0">
                    <a:pos x="0" y="172"/>
                  </a:cxn>
                  <a:cxn ang="0">
                    <a:pos x="6" y="170"/>
                  </a:cxn>
                  <a:cxn ang="0">
                    <a:pos x="6" y="170"/>
                  </a:cxn>
                  <a:cxn ang="0">
                    <a:pos x="66" y="98"/>
                  </a:cxn>
                  <a:cxn ang="0">
                    <a:pos x="118" y="2"/>
                  </a:cxn>
                  <a:cxn ang="0">
                    <a:pos x="114" y="0"/>
                  </a:cxn>
                  <a:cxn ang="0">
                    <a:pos x="64" y="98"/>
                  </a:cxn>
                </a:cxnLst>
                <a:rect l="0" t="0" r="r" b="b"/>
                <a:pathLst>
                  <a:path w="118" h="172">
                    <a:moveTo>
                      <a:pt x="64" y="98"/>
                    </a:moveTo>
                    <a:lnTo>
                      <a:pt x="0" y="172"/>
                    </a:lnTo>
                    <a:lnTo>
                      <a:pt x="6" y="170"/>
                    </a:lnTo>
                    <a:lnTo>
                      <a:pt x="6" y="170"/>
                    </a:lnTo>
                    <a:lnTo>
                      <a:pt x="66" y="98"/>
                    </a:lnTo>
                    <a:lnTo>
                      <a:pt x="118" y="2"/>
                    </a:lnTo>
                    <a:lnTo>
                      <a:pt x="114" y="0"/>
                    </a:lnTo>
                    <a:lnTo>
                      <a:pt x="64" y="9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0" name="Freeform 2882"/>
              <p:cNvSpPr>
                <a:spLocks/>
              </p:cNvSpPr>
              <p:nvPr/>
            </p:nvSpPr>
            <p:spPr bwMode="auto">
              <a:xfrm>
                <a:off x="7507340" y="2552143"/>
                <a:ext cx="2571" cy="7713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2" y="6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1" name="Freeform 2883"/>
              <p:cNvSpPr>
                <a:spLocks/>
              </p:cNvSpPr>
              <p:nvPr/>
            </p:nvSpPr>
            <p:spPr bwMode="auto">
              <a:xfrm>
                <a:off x="7383932" y="2457016"/>
                <a:ext cx="123408" cy="102840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96" y="80"/>
                  </a:cxn>
                  <a:cxn ang="0">
                    <a:pos x="96" y="74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96" h="80">
                    <a:moveTo>
                      <a:pt x="0" y="2"/>
                    </a:moveTo>
                    <a:lnTo>
                      <a:pt x="96" y="80"/>
                    </a:lnTo>
                    <a:lnTo>
                      <a:pt x="96" y="74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2" name="Freeform 2884"/>
              <p:cNvSpPr>
                <a:spLocks/>
              </p:cNvSpPr>
              <p:nvPr/>
            </p:nvSpPr>
            <p:spPr bwMode="auto">
              <a:xfrm>
                <a:off x="7548476" y="2256479"/>
                <a:ext cx="2571" cy="2571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3" name="Freeform 2885"/>
              <p:cNvSpPr>
                <a:spLocks/>
              </p:cNvSpPr>
              <p:nvPr/>
            </p:nvSpPr>
            <p:spPr bwMode="auto">
              <a:xfrm>
                <a:off x="7692451" y="2156210"/>
                <a:ext cx="7713" cy="2571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2">
                    <a:moveTo>
                      <a:pt x="4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4" name="Freeform 2886"/>
              <p:cNvSpPr>
                <a:spLocks/>
              </p:cNvSpPr>
              <p:nvPr/>
            </p:nvSpPr>
            <p:spPr bwMode="auto">
              <a:xfrm>
                <a:off x="7391645" y="2156210"/>
                <a:ext cx="303377" cy="102840"/>
              </a:xfrm>
              <a:custGeom>
                <a:avLst/>
                <a:gdLst/>
                <a:ahLst/>
                <a:cxnLst>
                  <a:cxn ang="0">
                    <a:pos x="222" y="0"/>
                  </a:cxn>
                  <a:cxn ang="0">
                    <a:pos x="136" y="40"/>
                  </a:cxn>
                  <a:cxn ang="0">
                    <a:pos x="124" y="70"/>
                  </a:cxn>
                  <a:cxn ang="0">
                    <a:pos x="0" y="42"/>
                  </a:cxn>
                  <a:cxn ang="0">
                    <a:pos x="0" y="44"/>
                  </a:cxn>
                  <a:cxn ang="0">
                    <a:pos x="124" y="72"/>
                  </a:cxn>
                  <a:cxn ang="0">
                    <a:pos x="122" y="80"/>
                  </a:cxn>
                  <a:cxn ang="0">
                    <a:pos x="124" y="78"/>
                  </a:cxn>
                  <a:cxn ang="0">
                    <a:pos x="138" y="40"/>
                  </a:cxn>
                  <a:cxn ang="0">
                    <a:pos x="222" y="2"/>
                  </a:cxn>
                  <a:cxn ang="0">
                    <a:pos x="234" y="2"/>
                  </a:cxn>
                  <a:cxn ang="0">
                    <a:pos x="236" y="0"/>
                  </a:cxn>
                  <a:cxn ang="0">
                    <a:pos x="222" y="0"/>
                  </a:cxn>
                </a:cxnLst>
                <a:rect l="0" t="0" r="r" b="b"/>
                <a:pathLst>
                  <a:path w="236" h="80">
                    <a:moveTo>
                      <a:pt x="222" y="0"/>
                    </a:moveTo>
                    <a:lnTo>
                      <a:pt x="136" y="40"/>
                    </a:lnTo>
                    <a:lnTo>
                      <a:pt x="124" y="70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124" y="72"/>
                    </a:lnTo>
                    <a:lnTo>
                      <a:pt x="122" y="80"/>
                    </a:lnTo>
                    <a:lnTo>
                      <a:pt x="124" y="78"/>
                    </a:lnTo>
                    <a:lnTo>
                      <a:pt x="138" y="40"/>
                    </a:lnTo>
                    <a:lnTo>
                      <a:pt x="222" y="2"/>
                    </a:lnTo>
                    <a:lnTo>
                      <a:pt x="234" y="2"/>
                    </a:lnTo>
                    <a:lnTo>
                      <a:pt x="236" y="0"/>
                    </a:lnTo>
                    <a:lnTo>
                      <a:pt x="222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5" name="Rectangle 2887"/>
              <p:cNvSpPr>
                <a:spLocks noChangeArrowheads="1"/>
              </p:cNvSpPr>
              <p:nvPr/>
            </p:nvSpPr>
            <p:spPr bwMode="auto">
              <a:xfrm>
                <a:off x="2121113" y="1603447"/>
                <a:ext cx="7713" cy="7713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6" name="Freeform 2888"/>
              <p:cNvSpPr>
                <a:spLocks/>
              </p:cNvSpPr>
              <p:nvPr/>
            </p:nvSpPr>
            <p:spPr bwMode="auto">
              <a:xfrm>
                <a:off x="2128826" y="1338635"/>
                <a:ext cx="2043938" cy="1252073"/>
              </a:xfrm>
              <a:custGeom>
                <a:avLst/>
                <a:gdLst/>
                <a:ahLst/>
                <a:cxnLst>
                  <a:cxn ang="0">
                    <a:pos x="1590" y="166"/>
                  </a:cxn>
                  <a:cxn ang="0">
                    <a:pos x="1580" y="616"/>
                  </a:cxn>
                  <a:cxn ang="0">
                    <a:pos x="978" y="650"/>
                  </a:cxn>
                  <a:cxn ang="0">
                    <a:pos x="908" y="626"/>
                  </a:cxn>
                  <a:cxn ang="0">
                    <a:pos x="754" y="534"/>
                  </a:cxn>
                  <a:cxn ang="0">
                    <a:pos x="714" y="476"/>
                  </a:cxn>
                  <a:cxn ang="0">
                    <a:pos x="710" y="326"/>
                  </a:cxn>
                  <a:cxn ang="0">
                    <a:pos x="668" y="24"/>
                  </a:cxn>
                  <a:cxn ang="0">
                    <a:pos x="636" y="166"/>
                  </a:cxn>
                  <a:cxn ang="0">
                    <a:pos x="736" y="346"/>
                  </a:cxn>
                  <a:cxn ang="0">
                    <a:pos x="756" y="472"/>
                  </a:cxn>
                  <a:cxn ang="0">
                    <a:pos x="818" y="642"/>
                  </a:cxn>
                  <a:cxn ang="0">
                    <a:pos x="948" y="618"/>
                  </a:cxn>
                  <a:cxn ang="0">
                    <a:pos x="948" y="964"/>
                  </a:cxn>
                  <a:cxn ang="0">
                    <a:pos x="502" y="598"/>
                  </a:cxn>
                  <a:cxn ang="0">
                    <a:pos x="560" y="436"/>
                  </a:cxn>
                  <a:cxn ang="0">
                    <a:pos x="592" y="2"/>
                  </a:cxn>
                  <a:cxn ang="0">
                    <a:pos x="524" y="342"/>
                  </a:cxn>
                  <a:cxn ang="0">
                    <a:pos x="400" y="334"/>
                  </a:cxn>
                  <a:cxn ang="0">
                    <a:pos x="110" y="318"/>
                  </a:cxn>
                  <a:cxn ang="0">
                    <a:pos x="0" y="206"/>
                  </a:cxn>
                  <a:cxn ang="0">
                    <a:pos x="96" y="238"/>
                  </a:cxn>
                  <a:cxn ang="0">
                    <a:pos x="284" y="356"/>
                  </a:cxn>
                  <a:cxn ang="0">
                    <a:pos x="534" y="378"/>
                  </a:cxn>
                  <a:cxn ang="0">
                    <a:pos x="486" y="572"/>
                  </a:cxn>
                  <a:cxn ang="0">
                    <a:pos x="444" y="862"/>
                  </a:cxn>
                  <a:cxn ang="0">
                    <a:pos x="446" y="866"/>
                  </a:cxn>
                  <a:cxn ang="0">
                    <a:pos x="442" y="870"/>
                  </a:cxn>
                  <a:cxn ang="0">
                    <a:pos x="682" y="914"/>
                  </a:cxn>
                  <a:cxn ang="0">
                    <a:pos x="688" y="920"/>
                  </a:cxn>
                  <a:cxn ang="0">
                    <a:pos x="948" y="970"/>
                  </a:cxn>
                  <a:cxn ang="0">
                    <a:pos x="992" y="584"/>
                  </a:cxn>
                  <a:cxn ang="0">
                    <a:pos x="1584" y="624"/>
                  </a:cxn>
                  <a:cxn ang="0">
                    <a:pos x="1586" y="524"/>
                  </a:cxn>
                  <a:cxn ang="0">
                    <a:pos x="1584" y="520"/>
                  </a:cxn>
                </a:cxnLst>
                <a:rect l="0" t="0" r="r" b="b"/>
                <a:pathLst>
                  <a:path w="1590" h="974">
                    <a:moveTo>
                      <a:pt x="1586" y="520"/>
                    </a:moveTo>
                    <a:lnTo>
                      <a:pt x="1590" y="166"/>
                    </a:lnTo>
                    <a:lnTo>
                      <a:pt x="1584" y="164"/>
                    </a:lnTo>
                    <a:lnTo>
                      <a:pt x="1580" y="616"/>
                    </a:lnTo>
                    <a:lnTo>
                      <a:pt x="986" y="578"/>
                    </a:lnTo>
                    <a:lnTo>
                      <a:pt x="978" y="650"/>
                    </a:lnTo>
                    <a:lnTo>
                      <a:pt x="952" y="614"/>
                    </a:lnTo>
                    <a:lnTo>
                      <a:pt x="908" y="626"/>
                    </a:lnTo>
                    <a:lnTo>
                      <a:pt x="824" y="638"/>
                    </a:lnTo>
                    <a:lnTo>
                      <a:pt x="754" y="534"/>
                    </a:lnTo>
                    <a:lnTo>
                      <a:pt x="762" y="464"/>
                    </a:lnTo>
                    <a:lnTo>
                      <a:pt x="714" y="476"/>
                    </a:lnTo>
                    <a:lnTo>
                      <a:pt x="744" y="346"/>
                    </a:lnTo>
                    <a:lnTo>
                      <a:pt x="710" y="326"/>
                    </a:lnTo>
                    <a:lnTo>
                      <a:pt x="644" y="168"/>
                    </a:lnTo>
                    <a:lnTo>
                      <a:pt x="668" y="24"/>
                    </a:lnTo>
                    <a:lnTo>
                      <a:pt x="662" y="22"/>
                    </a:lnTo>
                    <a:lnTo>
                      <a:pt x="636" y="166"/>
                    </a:lnTo>
                    <a:lnTo>
                      <a:pt x="708" y="332"/>
                    </a:lnTo>
                    <a:lnTo>
                      <a:pt x="736" y="346"/>
                    </a:lnTo>
                    <a:lnTo>
                      <a:pt x="706" y="484"/>
                    </a:lnTo>
                    <a:lnTo>
                      <a:pt x="756" y="472"/>
                    </a:lnTo>
                    <a:lnTo>
                      <a:pt x="746" y="534"/>
                    </a:lnTo>
                    <a:lnTo>
                      <a:pt x="818" y="642"/>
                    </a:lnTo>
                    <a:lnTo>
                      <a:pt x="910" y="632"/>
                    </a:lnTo>
                    <a:lnTo>
                      <a:pt x="948" y="618"/>
                    </a:lnTo>
                    <a:lnTo>
                      <a:pt x="976" y="656"/>
                    </a:lnTo>
                    <a:lnTo>
                      <a:pt x="948" y="964"/>
                    </a:lnTo>
                    <a:lnTo>
                      <a:pt x="452" y="864"/>
                    </a:lnTo>
                    <a:lnTo>
                      <a:pt x="502" y="598"/>
                    </a:lnTo>
                    <a:lnTo>
                      <a:pt x="492" y="572"/>
                    </a:lnTo>
                    <a:lnTo>
                      <a:pt x="560" y="436"/>
                    </a:lnTo>
                    <a:lnTo>
                      <a:pt x="530" y="342"/>
                    </a:lnTo>
                    <a:lnTo>
                      <a:pt x="592" y="2"/>
                    </a:lnTo>
                    <a:lnTo>
                      <a:pt x="584" y="0"/>
                    </a:lnTo>
                    <a:lnTo>
                      <a:pt x="524" y="342"/>
                    </a:lnTo>
                    <a:lnTo>
                      <a:pt x="532" y="368"/>
                    </a:lnTo>
                    <a:lnTo>
                      <a:pt x="400" y="334"/>
                    </a:lnTo>
                    <a:lnTo>
                      <a:pt x="284" y="350"/>
                    </a:lnTo>
                    <a:lnTo>
                      <a:pt x="110" y="318"/>
                    </a:lnTo>
                    <a:lnTo>
                      <a:pt x="100" y="234"/>
                    </a:lnTo>
                    <a:lnTo>
                      <a:pt x="0" y="206"/>
                    </a:lnTo>
                    <a:lnTo>
                      <a:pt x="0" y="212"/>
                    </a:lnTo>
                    <a:lnTo>
                      <a:pt x="96" y="238"/>
                    </a:lnTo>
                    <a:lnTo>
                      <a:pt x="104" y="324"/>
                    </a:lnTo>
                    <a:lnTo>
                      <a:pt x="284" y="356"/>
                    </a:lnTo>
                    <a:lnTo>
                      <a:pt x="400" y="340"/>
                    </a:lnTo>
                    <a:lnTo>
                      <a:pt x="534" y="378"/>
                    </a:lnTo>
                    <a:lnTo>
                      <a:pt x="554" y="436"/>
                    </a:lnTo>
                    <a:lnTo>
                      <a:pt x="486" y="572"/>
                    </a:lnTo>
                    <a:lnTo>
                      <a:pt x="494" y="598"/>
                    </a:lnTo>
                    <a:lnTo>
                      <a:pt x="444" y="862"/>
                    </a:lnTo>
                    <a:lnTo>
                      <a:pt x="446" y="862"/>
                    </a:lnTo>
                    <a:lnTo>
                      <a:pt x="446" y="866"/>
                    </a:lnTo>
                    <a:lnTo>
                      <a:pt x="442" y="866"/>
                    </a:lnTo>
                    <a:lnTo>
                      <a:pt x="442" y="870"/>
                    </a:lnTo>
                    <a:lnTo>
                      <a:pt x="680" y="918"/>
                    </a:lnTo>
                    <a:lnTo>
                      <a:pt x="682" y="914"/>
                    </a:lnTo>
                    <a:lnTo>
                      <a:pt x="688" y="914"/>
                    </a:lnTo>
                    <a:lnTo>
                      <a:pt x="688" y="920"/>
                    </a:lnTo>
                    <a:lnTo>
                      <a:pt x="948" y="974"/>
                    </a:lnTo>
                    <a:lnTo>
                      <a:pt x="948" y="970"/>
                    </a:lnTo>
                    <a:lnTo>
                      <a:pt x="954" y="972"/>
                    </a:lnTo>
                    <a:lnTo>
                      <a:pt x="992" y="584"/>
                    </a:lnTo>
                    <a:lnTo>
                      <a:pt x="1584" y="624"/>
                    </a:lnTo>
                    <a:lnTo>
                      <a:pt x="1584" y="624"/>
                    </a:lnTo>
                    <a:lnTo>
                      <a:pt x="1586" y="624"/>
                    </a:lnTo>
                    <a:lnTo>
                      <a:pt x="1586" y="524"/>
                    </a:lnTo>
                    <a:lnTo>
                      <a:pt x="1584" y="524"/>
                    </a:lnTo>
                    <a:lnTo>
                      <a:pt x="1584" y="520"/>
                    </a:lnTo>
                    <a:lnTo>
                      <a:pt x="1586" y="52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7" name="Rectangle 2889"/>
              <p:cNvSpPr>
                <a:spLocks noChangeArrowheads="1"/>
              </p:cNvSpPr>
              <p:nvPr/>
            </p:nvSpPr>
            <p:spPr bwMode="auto">
              <a:xfrm>
                <a:off x="1971996" y="2266763"/>
                <a:ext cx="1286" cy="1286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8" name="Freeform 2890"/>
              <p:cNvSpPr>
                <a:spLocks/>
              </p:cNvSpPr>
              <p:nvPr/>
            </p:nvSpPr>
            <p:spPr bwMode="auto">
              <a:xfrm>
                <a:off x="2748435" y="4012465"/>
                <a:ext cx="2571" cy="128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9" name="Freeform 2891"/>
              <p:cNvSpPr>
                <a:spLocks/>
              </p:cNvSpPr>
              <p:nvPr/>
            </p:nvSpPr>
            <p:spPr bwMode="auto">
              <a:xfrm>
                <a:off x="2910408" y="2518720"/>
                <a:ext cx="102840" cy="75844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0" y="590"/>
                  </a:cxn>
                  <a:cxn ang="0">
                    <a:pos x="4" y="590"/>
                  </a:cxn>
                  <a:cxn ang="0">
                    <a:pos x="80" y="2"/>
                  </a:cxn>
                  <a:cxn ang="0">
                    <a:pos x="72" y="0"/>
                  </a:cxn>
                </a:cxnLst>
                <a:rect l="0" t="0" r="r" b="b"/>
                <a:pathLst>
                  <a:path w="80" h="590">
                    <a:moveTo>
                      <a:pt x="72" y="0"/>
                    </a:moveTo>
                    <a:lnTo>
                      <a:pt x="0" y="590"/>
                    </a:lnTo>
                    <a:lnTo>
                      <a:pt x="4" y="590"/>
                    </a:lnTo>
                    <a:lnTo>
                      <a:pt x="80" y="2"/>
                    </a:lnTo>
                    <a:lnTo>
                      <a:pt x="72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0" name="Freeform 2892"/>
              <p:cNvSpPr>
                <a:spLocks/>
              </p:cNvSpPr>
              <p:nvPr/>
            </p:nvSpPr>
            <p:spPr bwMode="auto">
              <a:xfrm>
                <a:off x="1971996" y="2266763"/>
                <a:ext cx="943554" cy="1745703"/>
              </a:xfrm>
              <a:custGeom>
                <a:avLst/>
                <a:gdLst/>
                <a:ahLst/>
                <a:cxnLst>
                  <a:cxn ang="0">
                    <a:pos x="618" y="1262"/>
                  </a:cxn>
                  <a:cxn ang="0">
                    <a:pos x="668" y="1154"/>
                  </a:cxn>
                  <a:cxn ang="0">
                    <a:pos x="680" y="1140"/>
                  </a:cxn>
                  <a:cxn ang="0">
                    <a:pos x="648" y="1044"/>
                  </a:cxn>
                  <a:cxn ang="0">
                    <a:pos x="678" y="896"/>
                  </a:cxn>
                  <a:cxn ang="0">
                    <a:pos x="718" y="910"/>
                  </a:cxn>
                  <a:cxn ang="0">
                    <a:pos x="734" y="790"/>
                  </a:cxn>
                  <a:cxn ang="0">
                    <a:pos x="730" y="788"/>
                  </a:cxn>
                  <a:cxn ang="0">
                    <a:pos x="730" y="786"/>
                  </a:cxn>
                  <a:cxn ang="0">
                    <a:pos x="716" y="904"/>
                  </a:cxn>
                  <a:cxn ang="0">
                    <a:pos x="676" y="892"/>
                  </a:cxn>
                  <a:cxn ang="0">
                    <a:pos x="646" y="1040"/>
                  </a:cxn>
                  <a:cxn ang="0">
                    <a:pos x="262" y="482"/>
                  </a:cxn>
                  <a:cxn ang="0">
                    <a:pos x="272" y="454"/>
                  </a:cxn>
                  <a:cxn ang="0">
                    <a:pos x="262" y="426"/>
                  </a:cxn>
                  <a:cxn ang="0">
                    <a:pos x="338" y="98"/>
                  </a:cxn>
                  <a:cxn ang="0">
                    <a:pos x="564" y="144"/>
                  </a:cxn>
                  <a:cxn ang="0">
                    <a:pos x="566" y="140"/>
                  </a:cxn>
                  <a:cxn ang="0">
                    <a:pos x="338" y="9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8"/>
                  </a:cxn>
                  <a:cxn ang="0">
                    <a:pos x="334" y="98"/>
                  </a:cxn>
                  <a:cxn ang="0">
                    <a:pos x="256" y="426"/>
                  </a:cxn>
                  <a:cxn ang="0">
                    <a:pos x="266" y="454"/>
                  </a:cxn>
                  <a:cxn ang="0">
                    <a:pos x="256" y="482"/>
                  </a:cxn>
                  <a:cxn ang="0">
                    <a:pos x="644" y="1044"/>
                  </a:cxn>
                  <a:cxn ang="0">
                    <a:pos x="674" y="1140"/>
                  </a:cxn>
                  <a:cxn ang="0">
                    <a:pos x="664" y="1150"/>
                  </a:cxn>
                  <a:cxn ang="0">
                    <a:pos x="614" y="1260"/>
                  </a:cxn>
                  <a:cxn ang="0">
                    <a:pos x="626" y="1314"/>
                  </a:cxn>
                  <a:cxn ang="0">
                    <a:pos x="600" y="1354"/>
                  </a:cxn>
                  <a:cxn ang="0">
                    <a:pos x="604" y="1358"/>
                  </a:cxn>
                  <a:cxn ang="0">
                    <a:pos x="606" y="1358"/>
                  </a:cxn>
                  <a:cxn ang="0">
                    <a:pos x="630" y="1316"/>
                  </a:cxn>
                  <a:cxn ang="0">
                    <a:pos x="618" y="1262"/>
                  </a:cxn>
                </a:cxnLst>
                <a:rect l="0" t="0" r="r" b="b"/>
                <a:pathLst>
                  <a:path w="734" h="1358">
                    <a:moveTo>
                      <a:pt x="618" y="1262"/>
                    </a:moveTo>
                    <a:lnTo>
                      <a:pt x="668" y="1154"/>
                    </a:lnTo>
                    <a:lnTo>
                      <a:pt x="680" y="1140"/>
                    </a:lnTo>
                    <a:lnTo>
                      <a:pt x="648" y="1044"/>
                    </a:lnTo>
                    <a:lnTo>
                      <a:pt x="678" y="896"/>
                    </a:lnTo>
                    <a:lnTo>
                      <a:pt x="718" y="910"/>
                    </a:lnTo>
                    <a:lnTo>
                      <a:pt x="734" y="790"/>
                    </a:lnTo>
                    <a:lnTo>
                      <a:pt x="730" y="788"/>
                    </a:lnTo>
                    <a:lnTo>
                      <a:pt x="730" y="786"/>
                    </a:lnTo>
                    <a:lnTo>
                      <a:pt x="716" y="904"/>
                    </a:lnTo>
                    <a:lnTo>
                      <a:pt x="676" y="892"/>
                    </a:lnTo>
                    <a:lnTo>
                      <a:pt x="646" y="1040"/>
                    </a:lnTo>
                    <a:lnTo>
                      <a:pt x="262" y="482"/>
                    </a:lnTo>
                    <a:lnTo>
                      <a:pt x="272" y="454"/>
                    </a:lnTo>
                    <a:lnTo>
                      <a:pt x="262" y="426"/>
                    </a:lnTo>
                    <a:lnTo>
                      <a:pt x="338" y="98"/>
                    </a:lnTo>
                    <a:lnTo>
                      <a:pt x="564" y="144"/>
                    </a:lnTo>
                    <a:lnTo>
                      <a:pt x="566" y="140"/>
                    </a:lnTo>
                    <a:lnTo>
                      <a:pt x="338" y="9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8"/>
                    </a:lnTo>
                    <a:lnTo>
                      <a:pt x="334" y="98"/>
                    </a:lnTo>
                    <a:lnTo>
                      <a:pt x="256" y="426"/>
                    </a:lnTo>
                    <a:lnTo>
                      <a:pt x="266" y="454"/>
                    </a:lnTo>
                    <a:lnTo>
                      <a:pt x="256" y="482"/>
                    </a:lnTo>
                    <a:lnTo>
                      <a:pt x="644" y="1044"/>
                    </a:lnTo>
                    <a:lnTo>
                      <a:pt x="674" y="1140"/>
                    </a:lnTo>
                    <a:lnTo>
                      <a:pt x="664" y="1150"/>
                    </a:lnTo>
                    <a:lnTo>
                      <a:pt x="614" y="1260"/>
                    </a:lnTo>
                    <a:lnTo>
                      <a:pt x="626" y="1314"/>
                    </a:lnTo>
                    <a:lnTo>
                      <a:pt x="600" y="1354"/>
                    </a:lnTo>
                    <a:lnTo>
                      <a:pt x="604" y="1358"/>
                    </a:lnTo>
                    <a:lnTo>
                      <a:pt x="606" y="1358"/>
                    </a:lnTo>
                    <a:lnTo>
                      <a:pt x="630" y="1316"/>
                    </a:lnTo>
                    <a:lnTo>
                      <a:pt x="618" y="126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1" name="Freeform 2893"/>
              <p:cNvSpPr>
                <a:spLocks/>
              </p:cNvSpPr>
              <p:nvPr/>
            </p:nvSpPr>
            <p:spPr bwMode="auto">
              <a:xfrm>
                <a:off x="2697015" y="2446732"/>
                <a:ext cx="5142" cy="514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4" y="4"/>
                  </a:cxn>
                  <a:cxn ang="0">
                    <a:pos x="4" y="0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2" name="Freeform 2894"/>
              <p:cNvSpPr>
                <a:spLocks/>
              </p:cNvSpPr>
              <p:nvPr/>
            </p:nvSpPr>
            <p:spPr bwMode="auto">
              <a:xfrm>
                <a:off x="3002963" y="2513578"/>
                <a:ext cx="10284" cy="771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8" y="6"/>
                  </a:cxn>
                  <a:cxn ang="0">
                    <a:pos x="8" y="0"/>
                  </a:cxn>
                </a:cxnLst>
                <a:rect l="0" t="0" r="r" b="b"/>
                <a:pathLst>
                  <a:path w="8" h="6">
                    <a:moveTo>
                      <a:pt x="8" y="0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8" y="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3" name="Freeform 2895"/>
              <p:cNvSpPr>
                <a:spLocks/>
              </p:cNvSpPr>
              <p:nvPr/>
            </p:nvSpPr>
            <p:spPr bwMode="auto">
              <a:xfrm>
                <a:off x="5455689" y="4480386"/>
                <a:ext cx="5142" cy="128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4" name="Freeform 2896"/>
              <p:cNvSpPr>
                <a:spLocks/>
              </p:cNvSpPr>
              <p:nvPr/>
            </p:nvSpPr>
            <p:spPr bwMode="auto">
              <a:xfrm>
                <a:off x="3781974" y="4256710"/>
                <a:ext cx="2571" cy="5142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2" y="4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5" name="Freeform 2897"/>
              <p:cNvSpPr>
                <a:spLocks/>
              </p:cNvSpPr>
              <p:nvPr/>
            </p:nvSpPr>
            <p:spPr bwMode="auto">
              <a:xfrm>
                <a:off x="3442603" y="4290133"/>
                <a:ext cx="10284" cy="25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8" y="2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6" name="Freeform 2898"/>
              <p:cNvSpPr>
                <a:spLocks/>
              </p:cNvSpPr>
              <p:nvPr/>
            </p:nvSpPr>
            <p:spPr bwMode="auto">
              <a:xfrm>
                <a:off x="5370846" y="3971330"/>
                <a:ext cx="118266" cy="509056"/>
              </a:xfrm>
              <a:custGeom>
                <a:avLst/>
                <a:gdLst/>
                <a:ahLst/>
                <a:cxnLst>
                  <a:cxn ang="0">
                    <a:pos x="92" y="254"/>
                  </a:cxn>
                  <a:cxn ang="0">
                    <a:pos x="24" y="134"/>
                  </a:cxn>
                  <a:cxn ang="0">
                    <a:pos x="8" y="0"/>
                  </a:cxn>
                  <a:cxn ang="0">
                    <a:pos x="0" y="0"/>
                  </a:cxn>
                  <a:cxn ang="0">
                    <a:pos x="18" y="136"/>
                  </a:cxn>
                  <a:cxn ang="0">
                    <a:pos x="88" y="254"/>
                  </a:cxn>
                  <a:cxn ang="0">
                    <a:pos x="78" y="350"/>
                  </a:cxn>
                  <a:cxn ang="0">
                    <a:pos x="64" y="394"/>
                  </a:cxn>
                  <a:cxn ang="0">
                    <a:pos x="66" y="396"/>
                  </a:cxn>
                  <a:cxn ang="0">
                    <a:pos x="70" y="396"/>
                  </a:cxn>
                  <a:cxn ang="0">
                    <a:pos x="84" y="352"/>
                  </a:cxn>
                  <a:cxn ang="0">
                    <a:pos x="92" y="254"/>
                  </a:cxn>
                </a:cxnLst>
                <a:rect l="0" t="0" r="r" b="b"/>
                <a:pathLst>
                  <a:path w="92" h="396">
                    <a:moveTo>
                      <a:pt x="92" y="254"/>
                    </a:moveTo>
                    <a:lnTo>
                      <a:pt x="24" y="134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18" y="136"/>
                    </a:lnTo>
                    <a:lnTo>
                      <a:pt x="88" y="254"/>
                    </a:lnTo>
                    <a:lnTo>
                      <a:pt x="78" y="350"/>
                    </a:lnTo>
                    <a:lnTo>
                      <a:pt x="64" y="394"/>
                    </a:lnTo>
                    <a:lnTo>
                      <a:pt x="66" y="396"/>
                    </a:lnTo>
                    <a:lnTo>
                      <a:pt x="70" y="396"/>
                    </a:lnTo>
                    <a:lnTo>
                      <a:pt x="84" y="352"/>
                    </a:lnTo>
                    <a:lnTo>
                      <a:pt x="92" y="25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7" name="Rectangle 2899"/>
              <p:cNvSpPr>
                <a:spLocks noChangeArrowheads="1"/>
              </p:cNvSpPr>
              <p:nvPr/>
            </p:nvSpPr>
            <p:spPr bwMode="auto">
              <a:xfrm>
                <a:off x="2910408" y="3277162"/>
                <a:ext cx="1286" cy="1286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8" name="Freeform 2900"/>
              <p:cNvSpPr>
                <a:spLocks/>
              </p:cNvSpPr>
              <p:nvPr/>
            </p:nvSpPr>
            <p:spPr bwMode="auto">
              <a:xfrm>
                <a:off x="2915550" y="2140784"/>
                <a:ext cx="2465581" cy="2149349"/>
              </a:xfrm>
              <a:custGeom>
                <a:avLst/>
                <a:gdLst/>
                <a:ahLst/>
                <a:cxnLst>
                  <a:cxn ang="0">
                    <a:pos x="1038" y="1058"/>
                  </a:cxn>
                  <a:cxn ang="0">
                    <a:pos x="1320" y="1284"/>
                  </a:cxn>
                  <a:cxn ang="0">
                    <a:pos x="1796" y="1340"/>
                  </a:cxn>
                  <a:cxn ang="0">
                    <a:pos x="1910" y="1424"/>
                  </a:cxn>
                  <a:cxn ang="0">
                    <a:pos x="1918" y="1420"/>
                  </a:cxn>
                  <a:cxn ang="0">
                    <a:pos x="1874" y="1366"/>
                  </a:cxn>
                  <a:cxn ang="0">
                    <a:pos x="1864" y="1366"/>
                  </a:cxn>
                  <a:cxn ang="0">
                    <a:pos x="1798" y="1334"/>
                  </a:cxn>
                  <a:cxn ang="0">
                    <a:pos x="1326" y="1280"/>
                  </a:cxn>
                  <a:cxn ang="0">
                    <a:pos x="1058" y="1050"/>
                  </a:cxn>
                  <a:cxn ang="0">
                    <a:pos x="1830" y="954"/>
                  </a:cxn>
                  <a:cxn ang="0">
                    <a:pos x="1138" y="972"/>
                  </a:cxn>
                  <a:cxn ang="0">
                    <a:pos x="1134" y="974"/>
                  </a:cxn>
                  <a:cxn ang="0">
                    <a:pos x="1052" y="974"/>
                  </a:cxn>
                  <a:cxn ang="0">
                    <a:pos x="508" y="498"/>
                  </a:cxn>
                  <a:cxn ang="0">
                    <a:pos x="1128" y="616"/>
                  </a:cxn>
                  <a:cxn ang="0">
                    <a:pos x="1128" y="618"/>
                  </a:cxn>
                  <a:cxn ang="0">
                    <a:pos x="1734" y="610"/>
                  </a:cxn>
                  <a:cxn ang="0">
                    <a:pos x="1726" y="604"/>
                  </a:cxn>
                  <a:cxn ang="0">
                    <a:pos x="1710" y="542"/>
                  </a:cxn>
                  <a:cxn ang="0">
                    <a:pos x="1726" y="604"/>
                  </a:cxn>
                  <a:cxn ang="0">
                    <a:pos x="1126" y="518"/>
                  </a:cxn>
                  <a:cxn ang="0">
                    <a:pos x="972" y="252"/>
                  </a:cxn>
                  <a:cxn ang="0">
                    <a:pos x="972" y="248"/>
                  </a:cxn>
                  <a:cxn ang="0">
                    <a:pos x="976" y="0"/>
                  </a:cxn>
                  <a:cxn ang="0">
                    <a:pos x="974" y="0"/>
                  </a:cxn>
                  <a:cxn ang="0">
                    <a:pos x="966" y="510"/>
                  </a:cxn>
                  <a:cxn ang="0">
                    <a:pos x="316" y="468"/>
                  </a:cxn>
                  <a:cxn ang="0">
                    <a:pos x="342" y="348"/>
                  </a:cxn>
                  <a:cxn ang="0">
                    <a:pos x="336" y="350"/>
                  </a:cxn>
                  <a:cxn ang="0">
                    <a:pos x="500" y="498"/>
                  </a:cxn>
                  <a:cxn ang="0">
                    <a:pos x="0" y="884"/>
                  </a:cxn>
                  <a:cxn ang="0">
                    <a:pos x="452" y="968"/>
                  </a:cxn>
                  <a:cxn ang="0">
                    <a:pos x="418" y="1672"/>
                  </a:cxn>
                  <a:cxn ang="0">
                    <a:pos x="1050" y="982"/>
                  </a:cxn>
                  <a:cxn ang="0">
                    <a:pos x="1030" y="1050"/>
                  </a:cxn>
                  <a:cxn ang="0">
                    <a:pos x="672" y="1602"/>
                  </a:cxn>
                  <a:cxn ang="0">
                    <a:pos x="674" y="1646"/>
                  </a:cxn>
                  <a:cxn ang="0">
                    <a:pos x="676" y="1610"/>
                  </a:cxn>
                </a:cxnLst>
                <a:rect l="0" t="0" r="r" b="b"/>
                <a:pathLst>
                  <a:path w="1918" h="1672">
                    <a:moveTo>
                      <a:pt x="1046" y="1620"/>
                    </a:moveTo>
                    <a:lnTo>
                      <a:pt x="1038" y="1058"/>
                    </a:lnTo>
                    <a:lnTo>
                      <a:pt x="1308" y="1048"/>
                    </a:lnTo>
                    <a:lnTo>
                      <a:pt x="1320" y="1284"/>
                    </a:lnTo>
                    <a:lnTo>
                      <a:pt x="1528" y="1352"/>
                    </a:lnTo>
                    <a:lnTo>
                      <a:pt x="1796" y="1340"/>
                    </a:lnTo>
                    <a:lnTo>
                      <a:pt x="1906" y="1386"/>
                    </a:lnTo>
                    <a:lnTo>
                      <a:pt x="1910" y="1424"/>
                    </a:lnTo>
                    <a:lnTo>
                      <a:pt x="1910" y="1420"/>
                    </a:lnTo>
                    <a:lnTo>
                      <a:pt x="1918" y="1420"/>
                    </a:lnTo>
                    <a:lnTo>
                      <a:pt x="1914" y="1382"/>
                    </a:lnTo>
                    <a:lnTo>
                      <a:pt x="1874" y="1366"/>
                    </a:lnTo>
                    <a:lnTo>
                      <a:pt x="1874" y="1370"/>
                    </a:lnTo>
                    <a:lnTo>
                      <a:pt x="1864" y="1366"/>
                    </a:lnTo>
                    <a:lnTo>
                      <a:pt x="1864" y="1362"/>
                    </a:lnTo>
                    <a:lnTo>
                      <a:pt x="1798" y="1334"/>
                    </a:lnTo>
                    <a:lnTo>
                      <a:pt x="1528" y="1348"/>
                    </a:lnTo>
                    <a:lnTo>
                      <a:pt x="1326" y="1280"/>
                    </a:lnTo>
                    <a:lnTo>
                      <a:pt x="1312" y="1042"/>
                    </a:lnTo>
                    <a:lnTo>
                      <a:pt x="1058" y="1050"/>
                    </a:lnTo>
                    <a:lnTo>
                      <a:pt x="1056" y="982"/>
                    </a:lnTo>
                    <a:lnTo>
                      <a:pt x="1830" y="954"/>
                    </a:lnTo>
                    <a:lnTo>
                      <a:pt x="1828" y="948"/>
                    </a:lnTo>
                    <a:lnTo>
                      <a:pt x="1138" y="972"/>
                    </a:lnTo>
                    <a:lnTo>
                      <a:pt x="1138" y="974"/>
                    </a:lnTo>
                    <a:lnTo>
                      <a:pt x="1134" y="974"/>
                    </a:lnTo>
                    <a:lnTo>
                      <a:pt x="1134" y="972"/>
                    </a:lnTo>
                    <a:lnTo>
                      <a:pt x="1052" y="974"/>
                    </a:lnTo>
                    <a:lnTo>
                      <a:pt x="458" y="964"/>
                    </a:lnTo>
                    <a:lnTo>
                      <a:pt x="508" y="498"/>
                    </a:lnTo>
                    <a:lnTo>
                      <a:pt x="1120" y="524"/>
                    </a:lnTo>
                    <a:lnTo>
                      <a:pt x="1128" y="616"/>
                    </a:lnTo>
                    <a:lnTo>
                      <a:pt x="1128" y="616"/>
                    </a:lnTo>
                    <a:lnTo>
                      <a:pt x="1128" y="618"/>
                    </a:lnTo>
                    <a:lnTo>
                      <a:pt x="1736" y="610"/>
                    </a:lnTo>
                    <a:lnTo>
                      <a:pt x="1734" y="610"/>
                    </a:lnTo>
                    <a:lnTo>
                      <a:pt x="1726" y="610"/>
                    </a:lnTo>
                    <a:lnTo>
                      <a:pt x="1726" y="604"/>
                    </a:lnTo>
                    <a:lnTo>
                      <a:pt x="1732" y="604"/>
                    </a:lnTo>
                    <a:lnTo>
                      <a:pt x="1710" y="542"/>
                    </a:lnTo>
                    <a:lnTo>
                      <a:pt x="1704" y="542"/>
                    </a:lnTo>
                    <a:lnTo>
                      <a:pt x="1726" y="604"/>
                    </a:lnTo>
                    <a:lnTo>
                      <a:pt x="1132" y="612"/>
                    </a:lnTo>
                    <a:lnTo>
                      <a:pt x="1126" y="518"/>
                    </a:lnTo>
                    <a:lnTo>
                      <a:pt x="968" y="514"/>
                    </a:lnTo>
                    <a:lnTo>
                      <a:pt x="972" y="252"/>
                    </a:lnTo>
                    <a:lnTo>
                      <a:pt x="972" y="252"/>
                    </a:lnTo>
                    <a:lnTo>
                      <a:pt x="972" y="248"/>
                    </a:lnTo>
                    <a:lnTo>
                      <a:pt x="972" y="248"/>
                    </a:lnTo>
                    <a:lnTo>
                      <a:pt x="976" y="0"/>
                    </a:lnTo>
                    <a:lnTo>
                      <a:pt x="974" y="0"/>
                    </a:lnTo>
                    <a:lnTo>
                      <a:pt x="974" y="0"/>
                    </a:lnTo>
                    <a:lnTo>
                      <a:pt x="972" y="0"/>
                    </a:lnTo>
                    <a:lnTo>
                      <a:pt x="966" y="510"/>
                    </a:lnTo>
                    <a:lnTo>
                      <a:pt x="508" y="496"/>
                    </a:lnTo>
                    <a:lnTo>
                      <a:pt x="316" y="468"/>
                    </a:lnTo>
                    <a:lnTo>
                      <a:pt x="344" y="348"/>
                    </a:lnTo>
                    <a:lnTo>
                      <a:pt x="342" y="348"/>
                    </a:lnTo>
                    <a:lnTo>
                      <a:pt x="342" y="352"/>
                    </a:lnTo>
                    <a:lnTo>
                      <a:pt x="336" y="350"/>
                    </a:lnTo>
                    <a:lnTo>
                      <a:pt x="312" y="472"/>
                    </a:lnTo>
                    <a:lnTo>
                      <a:pt x="500" y="498"/>
                    </a:lnTo>
                    <a:lnTo>
                      <a:pt x="452" y="964"/>
                    </a:lnTo>
                    <a:lnTo>
                      <a:pt x="0" y="884"/>
                    </a:lnTo>
                    <a:lnTo>
                      <a:pt x="0" y="888"/>
                    </a:lnTo>
                    <a:lnTo>
                      <a:pt x="452" y="968"/>
                    </a:lnTo>
                    <a:lnTo>
                      <a:pt x="410" y="1672"/>
                    </a:lnTo>
                    <a:lnTo>
                      <a:pt x="418" y="1672"/>
                    </a:lnTo>
                    <a:lnTo>
                      <a:pt x="458" y="968"/>
                    </a:lnTo>
                    <a:lnTo>
                      <a:pt x="1050" y="982"/>
                    </a:lnTo>
                    <a:lnTo>
                      <a:pt x="1050" y="1050"/>
                    </a:lnTo>
                    <a:lnTo>
                      <a:pt x="1030" y="1050"/>
                    </a:lnTo>
                    <a:lnTo>
                      <a:pt x="1038" y="1610"/>
                    </a:lnTo>
                    <a:lnTo>
                      <a:pt x="672" y="1602"/>
                    </a:lnTo>
                    <a:lnTo>
                      <a:pt x="670" y="1642"/>
                    </a:lnTo>
                    <a:lnTo>
                      <a:pt x="674" y="1646"/>
                    </a:lnTo>
                    <a:lnTo>
                      <a:pt x="676" y="1648"/>
                    </a:lnTo>
                    <a:lnTo>
                      <a:pt x="676" y="1610"/>
                    </a:lnTo>
                    <a:lnTo>
                      <a:pt x="1046" y="162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9" name="Freeform 2901"/>
              <p:cNvSpPr>
                <a:spLocks/>
              </p:cNvSpPr>
              <p:nvPr/>
            </p:nvSpPr>
            <p:spPr bwMode="auto">
              <a:xfrm>
                <a:off x="4977485" y="2328466"/>
                <a:ext cx="136263" cy="506485"/>
              </a:xfrm>
              <a:custGeom>
                <a:avLst/>
                <a:gdLst/>
                <a:ahLst/>
                <a:cxnLst>
                  <a:cxn ang="0">
                    <a:pos x="12" y="136"/>
                  </a:cxn>
                  <a:cxn ang="0">
                    <a:pos x="8" y="0"/>
                  </a:cxn>
                  <a:cxn ang="0">
                    <a:pos x="0" y="2"/>
                  </a:cxn>
                  <a:cxn ang="0">
                    <a:pos x="4" y="140"/>
                  </a:cxn>
                  <a:cxn ang="0">
                    <a:pos x="98" y="394"/>
                  </a:cxn>
                  <a:cxn ang="0">
                    <a:pos x="106" y="394"/>
                  </a:cxn>
                  <a:cxn ang="0">
                    <a:pos x="12" y="136"/>
                  </a:cxn>
                </a:cxnLst>
                <a:rect l="0" t="0" r="r" b="b"/>
                <a:pathLst>
                  <a:path w="106" h="394">
                    <a:moveTo>
                      <a:pt x="12" y="136"/>
                    </a:moveTo>
                    <a:lnTo>
                      <a:pt x="8" y="0"/>
                    </a:lnTo>
                    <a:lnTo>
                      <a:pt x="0" y="2"/>
                    </a:lnTo>
                    <a:lnTo>
                      <a:pt x="4" y="140"/>
                    </a:lnTo>
                    <a:lnTo>
                      <a:pt x="98" y="394"/>
                    </a:lnTo>
                    <a:lnTo>
                      <a:pt x="106" y="394"/>
                    </a:lnTo>
                    <a:lnTo>
                      <a:pt x="12" y="13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0" name="Freeform 2902"/>
              <p:cNvSpPr>
                <a:spLocks/>
              </p:cNvSpPr>
              <p:nvPr/>
            </p:nvSpPr>
            <p:spPr bwMode="auto">
              <a:xfrm>
                <a:off x="4861790" y="1513462"/>
                <a:ext cx="125979" cy="815004"/>
              </a:xfrm>
              <a:custGeom>
                <a:avLst/>
                <a:gdLst/>
                <a:ahLst/>
                <a:cxnLst>
                  <a:cxn ang="0">
                    <a:pos x="98" y="626"/>
                  </a:cxn>
                  <a:cxn ang="0">
                    <a:pos x="92" y="448"/>
                  </a:cxn>
                  <a:cxn ang="0">
                    <a:pos x="62" y="410"/>
                  </a:cxn>
                  <a:cxn ang="0">
                    <a:pos x="80" y="378"/>
                  </a:cxn>
                  <a:cxn ang="0">
                    <a:pos x="6" y="2"/>
                  </a:cxn>
                  <a:cxn ang="0">
                    <a:pos x="0" y="0"/>
                  </a:cxn>
                  <a:cxn ang="0">
                    <a:pos x="74" y="378"/>
                  </a:cxn>
                  <a:cxn ang="0">
                    <a:pos x="54" y="410"/>
                  </a:cxn>
                  <a:cxn ang="0">
                    <a:pos x="84" y="448"/>
                  </a:cxn>
                  <a:cxn ang="0">
                    <a:pos x="90" y="634"/>
                  </a:cxn>
                  <a:cxn ang="0">
                    <a:pos x="90" y="626"/>
                  </a:cxn>
                  <a:cxn ang="0">
                    <a:pos x="98" y="626"/>
                  </a:cxn>
                </a:cxnLst>
                <a:rect l="0" t="0" r="r" b="b"/>
                <a:pathLst>
                  <a:path w="98" h="634">
                    <a:moveTo>
                      <a:pt x="98" y="626"/>
                    </a:moveTo>
                    <a:lnTo>
                      <a:pt x="92" y="448"/>
                    </a:lnTo>
                    <a:lnTo>
                      <a:pt x="62" y="410"/>
                    </a:lnTo>
                    <a:lnTo>
                      <a:pt x="80" y="378"/>
                    </a:lnTo>
                    <a:lnTo>
                      <a:pt x="6" y="2"/>
                    </a:lnTo>
                    <a:lnTo>
                      <a:pt x="0" y="0"/>
                    </a:lnTo>
                    <a:lnTo>
                      <a:pt x="74" y="378"/>
                    </a:lnTo>
                    <a:lnTo>
                      <a:pt x="54" y="410"/>
                    </a:lnTo>
                    <a:lnTo>
                      <a:pt x="84" y="448"/>
                    </a:lnTo>
                    <a:lnTo>
                      <a:pt x="90" y="634"/>
                    </a:lnTo>
                    <a:lnTo>
                      <a:pt x="90" y="626"/>
                    </a:lnTo>
                    <a:lnTo>
                      <a:pt x="98" y="62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1" name="Rectangle 2903"/>
              <p:cNvSpPr>
                <a:spLocks noChangeArrowheads="1"/>
              </p:cNvSpPr>
              <p:nvPr/>
            </p:nvSpPr>
            <p:spPr bwMode="auto">
              <a:xfrm>
                <a:off x="4365589" y="2932649"/>
                <a:ext cx="1286" cy="2571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2" name="Rectangle 2904"/>
              <p:cNvSpPr>
                <a:spLocks noChangeArrowheads="1"/>
              </p:cNvSpPr>
              <p:nvPr/>
            </p:nvSpPr>
            <p:spPr bwMode="auto">
              <a:xfrm>
                <a:off x="4373302" y="3390286"/>
                <a:ext cx="5142" cy="2571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3" name="Freeform 2905"/>
              <p:cNvSpPr>
                <a:spLocks/>
              </p:cNvSpPr>
              <p:nvPr/>
            </p:nvSpPr>
            <p:spPr bwMode="auto">
              <a:xfrm>
                <a:off x="5103463" y="2834952"/>
                <a:ext cx="10284" cy="25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2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4" name="Freeform 2906"/>
              <p:cNvSpPr>
                <a:spLocks/>
              </p:cNvSpPr>
              <p:nvPr/>
            </p:nvSpPr>
            <p:spPr bwMode="auto">
              <a:xfrm>
                <a:off x="3347476" y="2585565"/>
                <a:ext cx="7713" cy="7713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6" y="6"/>
                  </a:cxn>
                  <a:cxn ang="0">
                    <a:pos x="6" y="2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6" h="6">
                    <a:moveTo>
                      <a:pt x="0" y="4"/>
                    </a:moveTo>
                    <a:lnTo>
                      <a:pt x="6" y="6"/>
                    </a:lnTo>
                    <a:lnTo>
                      <a:pt x="6" y="2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5" name="Rectangle 2907"/>
              <p:cNvSpPr>
                <a:spLocks noChangeArrowheads="1"/>
              </p:cNvSpPr>
              <p:nvPr/>
            </p:nvSpPr>
            <p:spPr bwMode="auto">
              <a:xfrm>
                <a:off x="4165051" y="2140784"/>
                <a:ext cx="2571" cy="1286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6" name="Freeform 2908"/>
              <p:cNvSpPr>
                <a:spLocks/>
              </p:cNvSpPr>
              <p:nvPr/>
            </p:nvSpPr>
            <p:spPr bwMode="auto">
              <a:xfrm>
                <a:off x="2910408" y="3277162"/>
                <a:ext cx="5142" cy="514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4" y="4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2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7" name="Freeform 2909"/>
              <p:cNvSpPr>
                <a:spLocks/>
              </p:cNvSpPr>
              <p:nvPr/>
            </p:nvSpPr>
            <p:spPr bwMode="auto">
              <a:xfrm>
                <a:off x="4165051" y="2457016"/>
                <a:ext cx="827859" cy="79701"/>
              </a:xfrm>
              <a:custGeom>
                <a:avLst/>
                <a:gdLst/>
                <a:ahLst/>
                <a:cxnLst>
                  <a:cxn ang="0">
                    <a:pos x="644" y="62"/>
                  </a:cxn>
                  <a:cxn ang="0">
                    <a:pos x="642" y="54"/>
                  </a:cxn>
                  <a:cxn ang="0">
                    <a:pos x="47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74" y="4"/>
                  </a:cxn>
                  <a:cxn ang="0">
                    <a:pos x="644" y="62"/>
                  </a:cxn>
                </a:cxnLst>
                <a:rect l="0" t="0" r="r" b="b"/>
                <a:pathLst>
                  <a:path w="644" h="62">
                    <a:moveTo>
                      <a:pt x="644" y="62"/>
                    </a:moveTo>
                    <a:lnTo>
                      <a:pt x="642" y="54"/>
                    </a:lnTo>
                    <a:lnTo>
                      <a:pt x="47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74" y="4"/>
                    </a:lnTo>
                    <a:lnTo>
                      <a:pt x="644" y="6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8" name="Rectangle 2910"/>
              <p:cNvSpPr>
                <a:spLocks noChangeArrowheads="1"/>
              </p:cNvSpPr>
              <p:nvPr/>
            </p:nvSpPr>
            <p:spPr bwMode="auto">
              <a:xfrm>
                <a:off x="4165051" y="2459587"/>
                <a:ext cx="1286" cy="5142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9" name="Freeform 2911"/>
              <p:cNvSpPr>
                <a:spLocks/>
              </p:cNvSpPr>
              <p:nvPr/>
            </p:nvSpPr>
            <p:spPr bwMode="auto">
              <a:xfrm>
                <a:off x="5995597" y="2511007"/>
                <a:ext cx="5142" cy="7713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4" y="4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4" y="4"/>
                  </a:cxn>
                </a:cxnLst>
                <a:rect l="0" t="0" r="r" b="b"/>
                <a:pathLst>
                  <a:path w="4" h="6">
                    <a:moveTo>
                      <a:pt x="4" y="4"/>
                    </a:moveTo>
                    <a:lnTo>
                      <a:pt x="4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0" name="Freeform 2912"/>
              <p:cNvSpPr>
                <a:spLocks/>
              </p:cNvSpPr>
              <p:nvPr/>
            </p:nvSpPr>
            <p:spPr bwMode="auto">
              <a:xfrm>
                <a:off x="5409411" y="1765419"/>
                <a:ext cx="7713" cy="7713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6" y="0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1" name="Freeform 2913"/>
              <p:cNvSpPr>
                <a:spLocks/>
              </p:cNvSpPr>
              <p:nvPr/>
            </p:nvSpPr>
            <p:spPr bwMode="auto">
              <a:xfrm>
                <a:off x="5309142" y="1773132"/>
                <a:ext cx="740445" cy="1516885"/>
              </a:xfrm>
              <a:custGeom>
                <a:avLst/>
                <a:gdLst/>
                <a:ahLst/>
                <a:cxnLst>
                  <a:cxn ang="0">
                    <a:pos x="0" y="130"/>
                  </a:cxn>
                  <a:cxn ang="0">
                    <a:pos x="30" y="268"/>
                  </a:cxn>
                  <a:cxn ang="0">
                    <a:pos x="168" y="352"/>
                  </a:cxn>
                  <a:cxn ang="0">
                    <a:pos x="178" y="410"/>
                  </a:cxn>
                  <a:cxn ang="0">
                    <a:pos x="194" y="484"/>
                  </a:cxn>
                  <a:cxn ang="0">
                    <a:pos x="266" y="554"/>
                  </a:cxn>
                  <a:cxn ang="0">
                    <a:pos x="274" y="610"/>
                  </a:cxn>
                  <a:cxn ang="0">
                    <a:pos x="214" y="676"/>
                  </a:cxn>
                  <a:cxn ang="0">
                    <a:pos x="234" y="716"/>
                  </a:cxn>
                  <a:cxn ang="0">
                    <a:pos x="194" y="786"/>
                  </a:cxn>
                  <a:cxn ang="0">
                    <a:pos x="194" y="816"/>
                  </a:cxn>
                  <a:cxn ang="0">
                    <a:pos x="196" y="816"/>
                  </a:cxn>
                  <a:cxn ang="0">
                    <a:pos x="196" y="820"/>
                  </a:cxn>
                  <a:cxn ang="0">
                    <a:pos x="194" y="820"/>
                  </a:cxn>
                  <a:cxn ang="0">
                    <a:pos x="194" y="834"/>
                  </a:cxn>
                  <a:cxn ang="0">
                    <a:pos x="292" y="960"/>
                  </a:cxn>
                  <a:cxn ang="0">
                    <a:pos x="324" y="960"/>
                  </a:cxn>
                  <a:cxn ang="0">
                    <a:pos x="324" y="1040"/>
                  </a:cxn>
                  <a:cxn ang="0">
                    <a:pos x="404" y="1098"/>
                  </a:cxn>
                  <a:cxn ang="0">
                    <a:pos x="434" y="1180"/>
                  </a:cxn>
                  <a:cxn ang="0">
                    <a:pos x="456" y="1136"/>
                  </a:cxn>
                  <a:cxn ang="0">
                    <a:pos x="506" y="1162"/>
                  </a:cxn>
                  <a:cxn ang="0">
                    <a:pos x="548" y="1106"/>
                  </a:cxn>
                  <a:cxn ang="0">
                    <a:pos x="560" y="1024"/>
                  </a:cxn>
                  <a:cxn ang="0">
                    <a:pos x="576" y="942"/>
                  </a:cxn>
                  <a:cxn ang="0">
                    <a:pos x="538" y="578"/>
                  </a:cxn>
                  <a:cxn ang="0">
                    <a:pos x="536" y="580"/>
                  </a:cxn>
                  <a:cxn ang="0">
                    <a:pos x="534" y="578"/>
                  </a:cxn>
                  <a:cxn ang="0">
                    <a:pos x="574" y="942"/>
                  </a:cxn>
                  <a:cxn ang="0">
                    <a:pos x="554" y="1024"/>
                  </a:cxn>
                  <a:cxn ang="0">
                    <a:pos x="546" y="1106"/>
                  </a:cxn>
                  <a:cxn ang="0">
                    <a:pos x="506" y="1158"/>
                  </a:cxn>
                  <a:cxn ang="0">
                    <a:pos x="456" y="1130"/>
                  </a:cxn>
                  <a:cxn ang="0">
                    <a:pos x="434" y="1172"/>
                  </a:cxn>
                  <a:cxn ang="0">
                    <a:pos x="406" y="1094"/>
                  </a:cxn>
                  <a:cxn ang="0">
                    <a:pos x="328" y="1040"/>
                  </a:cxn>
                  <a:cxn ang="0">
                    <a:pos x="328" y="956"/>
                  </a:cxn>
                  <a:cxn ang="0">
                    <a:pos x="294" y="956"/>
                  </a:cxn>
                  <a:cxn ang="0">
                    <a:pos x="198" y="834"/>
                  </a:cxn>
                  <a:cxn ang="0">
                    <a:pos x="198" y="786"/>
                  </a:cxn>
                  <a:cxn ang="0">
                    <a:pos x="240" y="716"/>
                  </a:cxn>
                  <a:cxn ang="0">
                    <a:pos x="220" y="676"/>
                  </a:cxn>
                  <a:cxn ang="0">
                    <a:pos x="276" y="610"/>
                  </a:cxn>
                  <a:cxn ang="0">
                    <a:pos x="268" y="550"/>
                  </a:cxn>
                  <a:cxn ang="0">
                    <a:pos x="198" y="484"/>
                  </a:cxn>
                  <a:cxn ang="0">
                    <a:pos x="170" y="350"/>
                  </a:cxn>
                  <a:cxn ang="0">
                    <a:pos x="32" y="268"/>
                  </a:cxn>
                  <a:cxn ang="0">
                    <a:pos x="4" y="134"/>
                  </a:cxn>
                  <a:cxn ang="0">
                    <a:pos x="40" y="92"/>
                  </a:cxn>
                  <a:cxn ang="0">
                    <a:pos x="82" y="0"/>
                  </a:cxn>
                  <a:cxn ang="0">
                    <a:pos x="78" y="0"/>
                  </a:cxn>
                  <a:cxn ang="0">
                    <a:pos x="40" y="88"/>
                  </a:cxn>
                  <a:cxn ang="0">
                    <a:pos x="0" y="130"/>
                  </a:cxn>
                </a:cxnLst>
                <a:rect l="0" t="0" r="r" b="b"/>
                <a:pathLst>
                  <a:path w="576" h="1180">
                    <a:moveTo>
                      <a:pt x="0" y="130"/>
                    </a:moveTo>
                    <a:lnTo>
                      <a:pt x="30" y="268"/>
                    </a:lnTo>
                    <a:lnTo>
                      <a:pt x="168" y="352"/>
                    </a:lnTo>
                    <a:lnTo>
                      <a:pt x="178" y="410"/>
                    </a:lnTo>
                    <a:lnTo>
                      <a:pt x="194" y="484"/>
                    </a:lnTo>
                    <a:lnTo>
                      <a:pt x="266" y="554"/>
                    </a:lnTo>
                    <a:lnTo>
                      <a:pt x="274" y="610"/>
                    </a:lnTo>
                    <a:lnTo>
                      <a:pt x="214" y="676"/>
                    </a:lnTo>
                    <a:lnTo>
                      <a:pt x="234" y="716"/>
                    </a:lnTo>
                    <a:lnTo>
                      <a:pt x="194" y="786"/>
                    </a:lnTo>
                    <a:lnTo>
                      <a:pt x="194" y="816"/>
                    </a:lnTo>
                    <a:lnTo>
                      <a:pt x="196" y="816"/>
                    </a:lnTo>
                    <a:lnTo>
                      <a:pt x="196" y="820"/>
                    </a:lnTo>
                    <a:lnTo>
                      <a:pt x="194" y="820"/>
                    </a:lnTo>
                    <a:lnTo>
                      <a:pt x="194" y="834"/>
                    </a:lnTo>
                    <a:lnTo>
                      <a:pt x="292" y="960"/>
                    </a:lnTo>
                    <a:lnTo>
                      <a:pt x="324" y="960"/>
                    </a:lnTo>
                    <a:lnTo>
                      <a:pt x="324" y="1040"/>
                    </a:lnTo>
                    <a:lnTo>
                      <a:pt x="404" y="1098"/>
                    </a:lnTo>
                    <a:lnTo>
                      <a:pt x="434" y="1180"/>
                    </a:lnTo>
                    <a:lnTo>
                      <a:pt x="456" y="1136"/>
                    </a:lnTo>
                    <a:lnTo>
                      <a:pt x="506" y="1162"/>
                    </a:lnTo>
                    <a:lnTo>
                      <a:pt x="548" y="1106"/>
                    </a:lnTo>
                    <a:lnTo>
                      <a:pt x="560" y="1024"/>
                    </a:lnTo>
                    <a:lnTo>
                      <a:pt x="576" y="942"/>
                    </a:lnTo>
                    <a:lnTo>
                      <a:pt x="538" y="578"/>
                    </a:lnTo>
                    <a:lnTo>
                      <a:pt x="536" y="580"/>
                    </a:lnTo>
                    <a:lnTo>
                      <a:pt x="534" y="578"/>
                    </a:lnTo>
                    <a:lnTo>
                      <a:pt x="574" y="942"/>
                    </a:lnTo>
                    <a:lnTo>
                      <a:pt x="554" y="1024"/>
                    </a:lnTo>
                    <a:lnTo>
                      <a:pt x="546" y="1106"/>
                    </a:lnTo>
                    <a:lnTo>
                      <a:pt x="506" y="1158"/>
                    </a:lnTo>
                    <a:lnTo>
                      <a:pt x="456" y="1130"/>
                    </a:lnTo>
                    <a:lnTo>
                      <a:pt x="434" y="1172"/>
                    </a:lnTo>
                    <a:lnTo>
                      <a:pt x="406" y="1094"/>
                    </a:lnTo>
                    <a:lnTo>
                      <a:pt x="328" y="1040"/>
                    </a:lnTo>
                    <a:lnTo>
                      <a:pt x="328" y="956"/>
                    </a:lnTo>
                    <a:lnTo>
                      <a:pt x="294" y="956"/>
                    </a:lnTo>
                    <a:lnTo>
                      <a:pt x="198" y="834"/>
                    </a:lnTo>
                    <a:lnTo>
                      <a:pt x="198" y="786"/>
                    </a:lnTo>
                    <a:lnTo>
                      <a:pt x="240" y="716"/>
                    </a:lnTo>
                    <a:lnTo>
                      <a:pt x="220" y="676"/>
                    </a:lnTo>
                    <a:lnTo>
                      <a:pt x="276" y="610"/>
                    </a:lnTo>
                    <a:lnTo>
                      <a:pt x="268" y="550"/>
                    </a:lnTo>
                    <a:lnTo>
                      <a:pt x="198" y="484"/>
                    </a:lnTo>
                    <a:lnTo>
                      <a:pt x="170" y="350"/>
                    </a:lnTo>
                    <a:lnTo>
                      <a:pt x="32" y="268"/>
                    </a:lnTo>
                    <a:lnTo>
                      <a:pt x="4" y="134"/>
                    </a:lnTo>
                    <a:lnTo>
                      <a:pt x="40" y="92"/>
                    </a:lnTo>
                    <a:lnTo>
                      <a:pt x="82" y="0"/>
                    </a:lnTo>
                    <a:lnTo>
                      <a:pt x="78" y="0"/>
                    </a:lnTo>
                    <a:lnTo>
                      <a:pt x="40" y="88"/>
                    </a:lnTo>
                    <a:lnTo>
                      <a:pt x="0" y="13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2" name="Rectangle 2914"/>
              <p:cNvSpPr>
                <a:spLocks noChangeArrowheads="1"/>
              </p:cNvSpPr>
              <p:nvPr/>
            </p:nvSpPr>
            <p:spPr bwMode="auto">
              <a:xfrm>
                <a:off x="5558529" y="2822097"/>
                <a:ext cx="2571" cy="5142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3" name="Freeform 2915"/>
              <p:cNvSpPr>
                <a:spLocks/>
              </p:cNvSpPr>
              <p:nvPr/>
            </p:nvSpPr>
            <p:spPr bwMode="auto">
              <a:xfrm>
                <a:off x="4987769" y="2297614"/>
                <a:ext cx="550192" cy="30852"/>
              </a:xfrm>
              <a:custGeom>
                <a:avLst/>
                <a:gdLst/>
                <a:ahLst/>
                <a:cxnLst>
                  <a:cxn ang="0">
                    <a:pos x="428" y="6"/>
                  </a:cxn>
                  <a:cxn ang="0">
                    <a:pos x="426" y="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428" y="6"/>
                  </a:cxn>
                </a:cxnLst>
                <a:rect l="0" t="0" r="r" b="b"/>
                <a:pathLst>
                  <a:path w="428" h="24">
                    <a:moveTo>
                      <a:pt x="428" y="6"/>
                    </a:moveTo>
                    <a:lnTo>
                      <a:pt x="426" y="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428" y="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4" name="Freeform 2916"/>
              <p:cNvSpPr>
                <a:spLocks/>
              </p:cNvSpPr>
              <p:nvPr/>
            </p:nvSpPr>
            <p:spPr bwMode="auto">
              <a:xfrm>
                <a:off x="4977485" y="2328466"/>
                <a:ext cx="1286" cy="2571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5" name="Freeform 2917"/>
              <p:cNvSpPr>
                <a:spLocks/>
              </p:cNvSpPr>
              <p:nvPr/>
            </p:nvSpPr>
            <p:spPr bwMode="auto">
              <a:xfrm>
                <a:off x="4977485" y="2318182"/>
                <a:ext cx="10284" cy="1285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0" y="0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8" y="8"/>
                  </a:cxn>
                  <a:cxn ang="0">
                    <a:pos x="8" y="0"/>
                  </a:cxn>
                </a:cxnLst>
                <a:rect l="0" t="0" r="r" b="b"/>
                <a:pathLst>
                  <a:path w="8" h="10">
                    <a:moveTo>
                      <a:pt x="8" y="0"/>
                    </a:moveTo>
                    <a:lnTo>
                      <a:pt x="0" y="0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8" y="8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6" name="Freeform 2918"/>
              <p:cNvSpPr>
                <a:spLocks/>
              </p:cNvSpPr>
              <p:nvPr/>
            </p:nvSpPr>
            <p:spPr bwMode="auto">
              <a:xfrm>
                <a:off x="4167622" y="2004521"/>
                <a:ext cx="786723" cy="7713"/>
              </a:xfrm>
              <a:custGeom>
                <a:avLst/>
                <a:gdLst/>
                <a:ahLst/>
                <a:cxnLst>
                  <a:cxn ang="0">
                    <a:pos x="61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610" y="4"/>
                  </a:cxn>
                  <a:cxn ang="0">
                    <a:pos x="612" y="0"/>
                  </a:cxn>
                </a:cxnLst>
                <a:rect l="0" t="0" r="r" b="b"/>
                <a:pathLst>
                  <a:path w="612" h="6">
                    <a:moveTo>
                      <a:pt x="612" y="0"/>
                    </a:moveTo>
                    <a:lnTo>
                      <a:pt x="0" y="2"/>
                    </a:lnTo>
                    <a:lnTo>
                      <a:pt x="0" y="6"/>
                    </a:lnTo>
                    <a:lnTo>
                      <a:pt x="610" y="4"/>
                    </a:lnTo>
                    <a:lnTo>
                      <a:pt x="612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7" name="Rectangle 2919"/>
              <p:cNvSpPr>
                <a:spLocks noChangeArrowheads="1"/>
              </p:cNvSpPr>
              <p:nvPr/>
            </p:nvSpPr>
            <p:spPr bwMode="auto">
              <a:xfrm>
                <a:off x="4165051" y="2007092"/>
                <a:ext cx="2571" cy="5142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8" name="Freeform 2920"/>
              <p:cNvSpPr>
                <a:spLocks/>
              </p:cNvSpPr>
              <p:nvPr/>
            </p:nvSpPr>
            <p:spPr bwMode="auto">
              <a:xfrm>
                <a:off x="5882473" y="1942818"/>
                <a:ext cx="17997" cy="5142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14" y="4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4" y="4"/>
                  </a:cxn>
                </a:cxnLst>
                <a:rect l="0" t="0" r="r" b="b"/>
                <a:pathLst>
                  <a:path w="14" h="4">
                    <a:moveTo>
                      <a:pt x="4" y="4"/>
                    </a:moveTo>
                    <a:lnTo>
                      <a:pt x="14" y="4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9" name="Freeform 2921"/>
              <p:cNvSpPr>
                <a:spLocks/>
              </p:cNvSpPr>
              <p:nvPr/>
            </p:nvSpPr>
            <p:spPr bwMode="auto">
              <a:xfrm>
                <a:off x="5537961" y="1791129"/>
                <a:ext cx="349655" cy="156830"/>
              </a:xfrm>
              <a:custGeom>
                <a:avLst/>
                <a:gdLst/>
                <a:ahLst/>
                <a:cxnLst>
                  <a:cxn ang="0">
                    <a:pos x="230" y="84"/>
                  </a:cxn>
                  <a:cxn ang="0">
                    <a:pos x="240" y="122"/>
                  </a:cxn>
                  <a:cxn ang="0">
                    <a:pos x="272" y="122"/>
                  </a:cxn>
                  <a:cxn ang="0">
                    <a:pos x="268" y="122"/>
                  </a:cxn>
                  <a:cxn ang="0">
                    <a:pos x="268" y="118"/>
                  </a:cxn>
                  <a:cxn ang="0">
                    <a:pos x="242" y="118"/>
                  </a:cxn>
                  <a:cxn ang="0">
                    <a:pos x="236" y="80"/>
                  </a:cxn>
                  <a:cxn ang="0">
                    <a:pos x="24" y="52"/>
                  </a:cxn>
                  <a:cxn ang="0">
                    <a:pos x="6" y="0"/>
                  </a:cxn>
                  <a:cxn ang="0">
                    <a:pos x="0" y="0"/>
                  </a:cxn>
                  <a:cxn ang="0">
                    <a:pos x="22" y="58"/>
                  </a:cxn>
                  <a:cxn ang="0">
                    <a:pos x="230" y="84"/>
                  </a:cxn>
                </a:cxnLst>
                <a:rect l="0" t="0" r="r" b="b"/>
                <a:pathLst>
                  <a:path w="272" h="122">
                    <a:moveTo>
                      <a:pt x="230" y="84"/>
                    </a:moveTo>
                    <a:lnTo>
                      <a:pt x="240" y="122"/>
                    </a:lnTo>
                    <a:lnTo>
                      <a:pt x="272" y="122"/>
                    </a:lnTo>
                    <a:lnTo>
                      <a:pt x="268" y="122"/>
                    </a:lnTo>
                    <a:lnTo>
                      <a:pt x="268" y="118"/>
                    </a:lnTo>
                    <a:lnTo>
                      <a:pt x="242" y="118"/>
                    </a:lnTo>
                    <a:lnTo>
                      <a:pt x="236" y="80"/>
                    </a:lnTo>
                    <a:lnTo>
                      <a:pt x="24" y="5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22" y="58"/>
                    </a:lnTo>
                    <a:lnTo>
                      <a:pt x="230" y="8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0" name="Freeform 2922"/>
              <p:cNvSpPr>
                <a:spLocks/>
              </p:cNvSpPr>
              <p:nvPr/>
            </p:nvSpPr>
            <p:spPr bwMode="auto">
              <a:xfrm>
                <a:off x="5142028" y="2917223"/>
                <a:ext cx="182540" cy="979548"/>
              </a:xfrm>
              <a:custGeom>
                <a:avLst/>
                <a:gdLst/>
                <a:ahLst/>
                <a:cxnLst>
                  <a:cxn ang="0">
                    <a:pos x="28" y="66"/>
                  </a:cxn>
                  <a:cxn ang="0">
                    <a:pos x="46" y="0"/>
                  </a:cxn>
                  <a:cxn ang="0">
                    <a:pos x="0" y="0"/>
                  </a:cxn>
                  <a:cxn ang="0">
                    <a:pos x="2" y="6"/>
                  </a:cxn>
                  <a:cxn ang="0">
                    <a:pos x="38" y="6"/>
                  </a:cxn>
                  <a:cxn ang="0">
                    <a:pos x="22" y="68"/>
                  </a:cxn>
                  <a:cxn ang="0">
                    <a:pos x="76" y="96"/>
                  </a:cxn>
                  <a:cxn ang="0">
                    <a:pos x="96" y="344"/>
                  </a:cxn>
                  <a:cxn ang="0">
                    <a:pos x="102" y="344"/>
                  </a:cxn>
                  <a:cxn ang="0">
                    <a:pos x="100" y="350"/>
                  </a:cxn>
                  <a:cxn ang="0">
                    <a:pos x="98" y="350"/>
                  </a:cxn>
                  <a:cxn ang="0">
                    <a:pos x="132" y="758"/>
                  </a:cxn>
                  <a:cxn ang="0">
                    <a:pos x="142" y="762"/>
                  </a:cxn>
                  <a:cxn ang="0">
                    <a:pos x="110" y="404"/>
                  </a:cxn>
                  <a:cxn ang="0">
                    <a:pos x="106" y="404"/>
                  </a:cxn>
                  <a:cxn ang="0">
                    <a:pos x="106" y="400"/>
                  </a:cxn>
                  <a:cxn ang="0">
                    <a:pos x="110" y="400"/>
                  </a:cxn>
                  <a:cxn ang="0">
                    <a:pos x="82" y="90"/>
                  </a:cxn>
                  <a:cxn ang="0">
                    <a:pos x="28" y="66"/>
                  </a:cxn>
                </a:cxnLst>
                <a:rect l="0" t="0" r="r" b="b"/>
                <a:pathLst>
                  <a:path w="142" h="762">
                    <a:moveTo>
                      <a:pt x="28" y="66"/>
                    </a:moveTo>
                    <a:lnTo>
                      <a:pt x="46" y="0"/>
                    </a:lnTo>
                    <a:lnTo>
                      <a:pt x="0" y="0"/>
                    </a:lnTo>
                    <a:lnTo>
                      <a:pt x="2" y="6"/>
                    </a:lnTo>
                    <a:lnTo>
                      <a:pt x="38" y="6"/>
                    </a:lnTo>
                    <a:lnTo>
                      <a:pt x="22" y="68"/>
                    </a:lnTo>
                    <a:lnTo>
                      <a:pt x="76" y="96"/>
                    </a:lnTo>
                    <a:lnTo>
                      <a:pt x="96" y="344"/>
                    </a:lnTo>
                    <a:lnTo>
                      <a:pt x="102" y="344"/>
                    </a:lnTo>
                    <a:lnTo>
                      <a:pt x="100" y="350"/>
                    </a:lnTo>
                    <a:lnTo>
                      <a:pt x="98" y="350"/>
                    </a:lnTo>
                    <a:lnTo>
                      <a:pt x="132" y="758"/>
                    </a:lnTo>
                    <a:lnTo>
                      <a:pt x="142" y="762"/>
                    </a:lnTo>
                    <a:lnTo>
                      <a:pt x="110" y="404"/>
                    </a:lnTo>
                    <a:lnTo>
                      <a:pt x="106" y="404"/>
                    </a:lnTo>
                    <a:lnTo>
                      <a:pt x="106" y="400"/>
                    </a:lnTo>
                    <a:lnTo>
                      <a:pt x="110" y="400"/>
                    </a:lnTo>
                    <a:lnTo>
                      <a:pt x="82" y="90"/>
                    </a:lnTo>
                    <a:lnTo>
                      <a:pt x="28" y="6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1" name="Freeform 2923"/>
              <p:cNvSpPr>
                <a:spLocks/>
              </p:cNvSpPr>
              <p:nvPr/>
            </p:nvSpPr>
            <p:spPr bwMode="auto">
              <a:xfrm>
                <a:off x="5311713" y="3891629"/>
                <a:ext cx="12855" cy="1028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0" h="8">
                    <a:moveTo>
                      <a:pt x="0" y="4"/>
                    </a:moveTo>
                    <a:lnTo>
                      <a:pt x="10" y="8"/>
                    </a:lnTo>
                    <a:lnTo>
                      <a:pt x="10" y="4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2" name="Freeform 2924"/>
              <p:cNvSpPr>
                <a:spLocks/>
              </p:cNvSpPr>
              <p:nvPr/>
            </p:nvSpPr>
            <p:spPr bwMode="auto">
              <a:xfrm>
                <a:off x="5265436" y="3359434"/>
                <a:ext cx="7713" cy="7713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0" y="0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6" y="0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lnTo>
                      <a:pt x="0" y="0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3" name="Freeform 2925"/>
              <p:cNvSpPr>
                <a:spLocks/>
              </p:cNvSpPr>
              <p:nvPr/>
            </p:nvSpPr>
            <p:spPr bwMode="auto">
              <a:xfrm>
                <a:off x="5134315" y="2917223"/>
                <a:ext cx="10284" cy="77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6"/>
                  </a:cxn>
                  <a:cxn ang="0">
                    <a:pos x="8" y="6"/>
                  </a:cxn>
                  <a:cxn ang="0">
                    <a:pos x="6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6">
                    <a:moveTo>
                      <a:pt x="0" y="0"/>
                    </a:moveTo>
                    <a:lnTo>
                      <a:pt x="0" y="6"/>
                    </a:lnTo>
                    <a:lnTo>
                      <a:pt x="8" y="6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4" name="Freeform 2926"/>
              <p:cNvSpPr>
                <a:spLocks/>
              </p:cNvSpPr>
              <p:nvPr/>
            </p:nvSpPr>
            <p:spPr bwMode="auto">
              <a:xfrm>
                <a:off x="7512482" y="2958359"/>
                <a:ext cx="5142" cy="5142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4"/>
                  </a:cxn>
                  <a:cxn ang="0">
                    <a:pos x="4" y="4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5" name="Freeform 2927"/>
              <p:cNvSpPr>
                <a:spLocks/>
              </p:cNvSpPr>
              <p:nvPr/>
            </p:nvSpPr>
            <p:spPr bwMode="auto">
              <a:xfrm>
                <a:off x="5283432" y="2958359"/>
                <a:ext cx="2231620" cy="529624"/>
              </a:xfrm>
              <a:custGeom>
                <a:avLst/>
                <a:gdLst/>
                <a:ahLst/>
                <a:cxnLst>
                  <a:cxn ang="0">
                    <a:pos x="1024" y="202"/>
                  </a:cxn>
                  <a:cxn ang="0">
                    <a:pos x="1022" y="206"/>
                  </a:cxn>
                  <a:cxn ang="0">
                    <a:pos x="1014" y="210"/>
                  </a:cxn>
                  <a:cxn ang="0">
                    <a:pos x="1018" y="204"/>
                  </a:cxn>
                  <a:cxn ang="0">
                    <a:pos x="756" y="258"/>
                  </a:cxn>
                  <a:cxn ang="0">
                    <a:pos x="476" y="304"/>
                  </a:cxn>
                  <a:cxn ang="0">
                    <a:pos x="454" y="308"/>
                  </a:cxn>
                  <a:cxn ang="0">
                    <a:pos x="454" y="402"/>
                  </a:cxn>
                  <a:cxn ang="0">
                    <a:pos x="374" y="408"/>
                  </a:cxn>
                  <a:cxn ang="0">
                    <a:pos x="390" y="360"/>
                  </a:cxn>
                  <a:cxn ang="0">
                    <a:pos x="0" y="368"/>
                  </a:cxn>
                  <a:cxn ang="0">
                    <a:pos x="0" y="372"/>
                  </a:cxn>
                  <a:cxn ang="0">
                    <a:pos x="384" y="364"/>
                  </a:cxn>
                  <a:cxn ang="0">
                    <a:pos x="366" y="412"/>
                  </a:cxn>
                  <a:cxn ang="0">
                    <a:pos x="450" y="406"/>
                  </a:cxn>
                  <a:cxn ang="0">
                    <a:pos x="450" y="404"/>
                  </a:cxn>
                  <a:cxn ang="0">
                    <a:pos x="454" y="404"/>
                  </a:cxn>
                  <a:cxn ang="0">
                    <a:pos x="454" y="406"/>
                  </a:cxn>
                  <a:cxn ang="0">
                    <a:pos x="456" y="406"/>
                  </a:cxn>
                  <a:cxn ang="0">
                    <a:pos x="456" y="310"/>
                  </a:cxn>
                  <a:cxn ang="0">
                    <a:pos x="478" y="310"/>
                  </a:cxn>
                  <a:cxn ang="0">
                    <a:pos x="756" y="264"/>
                  </a:cxn>
                  <a:cxn ang="0">
                    <a:pos x="1186" y="176"/>
                  </a:cxn>
                  <a:cxn ang="0">
                    <a:pos x="1186" y="176"/>
                  </a:cxn>
                  <a:cxn ang="0">
                    <a:pos x="1188" y="174"/>
                  </a:cxn>
                  <a:cxn ang="0">
                    <a:pos x="1192" y="172"/>
                  </a:cxn>
                  <a:cxn ang="0">
                    <a:pos x="1190" y="174"/>
                  </a:cxn>
                  <a:cxn ang="0">
                    <a:pos x="1736" y="4"/>
                  </a:cxn>
                  <a:cxn ang="0">
                    <a:pos x="1734" y="0"/>
                  </a:cxn>
                  <a:cxn ang="0">
                    <a:pos x="1188" y="172"/>
                  </a:cxn>
                  <a:cxn ang="0">
                    <a:pos x="1024" y="202"/>
                  </a:cxn>
                </a:cxnLst>
                <a:rect l="0" t="0" r="r" b="b"/>
                <a:pathLst>
                  <a:path w="1736" h="412">
                    <a:moveTo>
                      <a:pt x="1024" y="202"/>
                    </a:moveTo>
                    <a:lnTo>
                      <a:pt x="1022" y="206"/>
                    </a:lnTo>
                    <a:lnTo>
                      <a:pt x="1014" y="210"/>
                    </a:lnTo>
                    <a:lnTo>
                      <a:pt x="1018" y="204"/>
                    </a:lnTo>
                    <a:lnTo>
                      <a:pt x="756" y="258"/>
                    </a:lnTo>
                    <a:lnTo>
                      <a:pt x="476" y="304"/>
                    </a:lnTo>
                    <a:lnTo>
                      <a:pt x="454" y="308"/>
                    </a:lnTo>
                    <a:lnTo>
                      <a:pt x="454" y="402"/>
                    </a:lnTo>
                    <a:lnTo>
                      <a:pt x="374" y="408"/>
                    </a:lnTo>
                    <a:lnTo>
                      <a:pt x="390" y="360"/>
                    </a:lnTo>
                    <a:lnTo>
                      <a:pt x="0" y="368"/>
                    </a:lnTo>
                    <a:lnTo>
                      <a:pt x="0" y="372"/>
                    </a:lnTo>
                    <a:lnTo>
                      <a:pt x="384" y="364"/>
                    </a:lnTo>
                    <a:lnTo>
                      <a:pt x="366" y="412"/>
                    </a:lnTo>
                    <a:lnTo>
                      <a:pt x="450" y="406"/>
                    </a:lnTo>
                    <a:lnTo>
                      <a:pt x="450" y="404"/>
                    </a:lnTo>
                    <a:lnTo>
                      <a:pt x="454" y="404"/>
                    </a:lnTo>
                    <a:lnTo>
                      <a:pt x="454" y="406"/>
                    </a:lnTo>
                    <a:lnTo>
                      <a:pt x="456" y="406"/>
                    </a:lnTo>
                    <a:lnTo>
                      <a:pt x="456" y="310"/>
                    </a:lnTo>
                    <a:lnTo>
                      <a:pt x="478" y="310"/>
                    </a:lnTo>
                    <a:lnTo>
                      <a:pt x="756" y="264"/>
                    </a:lnTo>
                    <a:lnTo>
                      <a:pt x="1186" y="176"/>
                    </a:lnTo>
                    <a:lnTo>
                      <a:pt x="1186" y="176"/>
                    </a:lnTo>
                    <a:lnTo>
                      <a:pt x="1188" y="174"/>
                    </a:lnTo>
                    <a:lnTo>
                      <a:pt x="1192" y="172"/>
                    </a:lnTo>
                    <a:lnTo>
                      <a:pt x="1190" y="174"/>
                    </a:lnTo>
                    <a:lnTo>
                      <a:pt x="1736" y="4"/>
                    </a:lnTo>
                    <a:lnTo>
                      <a:pt x="1734" y="0"/>
                    </a:lnTo>
                    <a:lnTo>
                      <a:pt x="1188" y="172"/>
                    </a:lnTo>
                    <a:lnTo>
                      <a:pt x="1024" y="20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6" name="Freeform 2928"/>
              <p:cNvSpPr>
                <a:spLocks/>
              </p:cNvSpPr>
              <p:nvPr/>
            </p:nvSpPr>
            <p:spPr bwMode="auto">
              <a:xfrm>
                <a:off x="6808030" y="3179464"/>
                <a:ext cx="7713" cy="514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4" y="2"/>
                  </a:cxn>
                  <a:cxn ang="0">
                    <a:pos x="6" y="0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7" name="Freeform 2929"/>
              <p:cNvSpPr>
                <a:spLocks/>
              </p:cNvSpPr>
              <p:nvPr/>
            </p:nvSpPr>
            <p:spPr bwMode="auto">
              <a:xfrm>
                <a:off x="6586925" y="3218029"/>
                <a:ext cx="12855" cy="10284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0" y="8"/>
                  </a:cxn>
                  <a:cxn ang="0">
                    <a:pos x="8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</a:cxnLst>
                <a:rect l="0" t="0" r="r" b="b"/>
                <a:pathLst>
                  <a:path w="10" h="8">
                    <a:moveTo>
                      <a:pt x="4" y="2"/>
                    </a:moveTo>
                    <a:lnTo>
                      <a:pt x="0" y="8"/>
                    </a:lnTo>
                    <a:lnTo>
                      <a:pt x="8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8" name="Rectangle 2930"/>
              <p:cNvSpPr>
                <a:spLocks noChangeArrowheads="1"/>
              </p:cNvSpPr>
              <p:nvPr/>
            </p:nvSpPr>
            <p:spPr bwMode="auto">
              <a:xfrm>
                <a:off x="5278291" y="3431422"/>
                <a:ext cx="5142" cy="5142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9" name="Freeform 2931"/>
              <p:cNvSpPr>
                <a:spLocks/>
              </p:cNvSpPr>
              <p:nvPr/>
            </p:nvSpPr>
            <p:spPr bwMode="auto">
              <a:xfrm>
                <a:off x="7260525" y="3495696"/>
                <a:ext cx="5142" cy="7713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2" y="6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0" name="Freeform 2932"/>
              <p:cNvSpPr>
                <a:spLocks/>
              </p:cNvSpPr>
              <p:nvPr/>
            </p:nvSpPr>
            <p:spPr bwMode="auto">
              <a:xfrm>
                <a:off x="6005881" y="4333839"/>
                <a:ext cx="7713" cy="5142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6" h="4">
                    <a:moveTo>
                      <a:pt x="0" y="4"/>
                    </a:moveTo>
                    <a:lnTo>
                      <a:pt x="6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1" name="Freeform 2933"/>
              <p:cNvSpPr>
                <a:spLocks/>
              </p:cNvSpPr>
              <p:nvPr/>
            </p:nvSpPr>
            <p:spPr bwMode="auto">
              <a:xfrm>
                <a:off x="5381130" y="3362005"/>
                <a:ext cx="1881966" cy="971835"/>
              </a:xfrm>
              <a:custGeom>
                <a:avLst/>
                <a:gdLst/>
                <a:ahLst/>
                <a:cxnLst>
                  <a:cxn ang="0">
                    <a:pos x="1250" y="34"/>
                  </a:cxn>
                  <a:cxn ang="0">
                    <a:pos x="1218" y="0"/>
                  </a:cxn>
                  <a:cxn ang="0">
                    <a:pos x="968" y="98"/>
                  </a:cxn>
                  <a:cxn ang="0">
                    <a:pos x="906" y="108"/>
                  </a:cxn>
                  <a:cxn ang="0">
                    <a:pos x="906" y="108"/>
                  </a:cxn>
                  <a:cxn ang="0">
                    <a:pos x="900" y="112"/>
                  </a:cxn>
                  <a:cxn ang="0">
                    <a:pos x="902" y="108"/>
                  </a:cxn>
                  <a:cxn ang="0">
                    <a:pos x="554" y="166"/>
                  </a:cxn>
                  <a:cxn ang="0">
                    <a:pos x="348" y="186"/>
                  </a:cxn>
                  <a:cxn ang="0">
                    <a:pos x="378" y="92"/>
                  </a:cxn>
                  <a:cxn ang="0">
                    <a:pos x="374" y="92"/>
                  </a:cxn>
                  <a:cxn ang="0">
                    <a:pos x="270" y="410"/>
                  </a:cxn>
                  <a:cxn ang="0">
                    <a:pos x="280" y="450"/>
                  </a:cxn>
                  <a:cxn ang="0">
                    <a:pos x="0" y="470"/>
                  </a:cxn>
                  <a:cxn ang="0">
                    <a:pos x="0" y="474"/>
                  </a:cxn>
                  <a:cxn ang="0">
                    <a:pos x="280" y="454"/>
                  </a:cxn>
                  <a:cxn ang="0">
                    <a:pos x="310" y="544"/>
                  </a:cxn>
                  <a:cxn ang="0">
                    <a:pos x="276" y="694"/>
                  </a:cxn>
                  <a:cxn ang="0">
                    <a:pos x="448" y="684"/>
                  </a:cxn>
                  <a:cxn ang="0">
                    <a:pos x="486" y="756"/>
                  </a:cxn>
                  <a:cxn ang="0">
                    <a:pos x="490" y="756"/>
                  </a:cxn>
                  <a:cxn ang="0">
                    <a:pos x="452" y="678"/>
                  </a:cxn>
                  <a:cxn ang="0">
                    <a:pos x="280" y="692"/>
                  </a:cxn>
                  <a:cxn ang="0">
                    <a:pos x="312" y="542"/>
                  </a:cxn>
                  <a:cxn ang="0">
                    <a:pos x="274" y="410"/>
                  </a:cxn>
                  <a:cxn ang="0">
                    <a:pos x="348" y="192"/>
                  </a:cxn>
                  <a:cxn ang="0">
                    <a:pos x="552" y="170"/>
                  </a:cxn>
                  <a:cxn ang="0">
                    <a:pos x="780" y="134"/>
                  </a:cxn>
                  <a:cxn ang="0">
                    <a:pos x="780" y="132"/>
                  </a:cxn>
                  <a:cxn ang="0">
                    <a:pos x="786" y="130"/>
                  </a:cxn>
                  <a:cxn ang="0">
                    <a:pos x="786" y="132"/>
                  </a:cxn>
                  <a:cxn ang="0">
                    <a:pos x="968" y="102"/>
                  </a:cxn>
                  <a:cxn ang="0">
                    <a:pos x="1218" y="6"/>
                  </a:cxn>
                  <a:cxn ang="0">
                    <a:pos x="1248" y="38"/>
                  </a:cxn>
                  <a:cxn ang="0">
                    <a:pos x="1330" y="22"/>
                  </a:cxn>
                  <a:cxn ang="0">
                    <a:pos x="1462" y="110"/>
                  </a:cxn>
                  <a:cxn ang="0">
                    <a:pos x="1464" y="104"/>
                  </a:cxn>
                  <a:cxn ang="0">
                    <a:pos x="1330" y="16"/>
                  </a:cxn>
                  <a:cxn ang="0">
                    <a:pos x="1250" y="34"/>
                  </a:cxn>
                </a:cxnLst>
                <a:rect l="0" t="0" r="r" b="b"/>
                <a:pathLst>
                  <a:path w="1464" h="756">
                    <a:moveTo>
                      <a:pt x="1250" y="34"/>
                    </a:moveTo>
                    <a:lnTo>
                      <a:pt x="1218" y="0"/>
                    </a:lnTo>
                    <a:lnTo>
                      <a:pt x="968" y="98"/>
                    </a:lnTo>
                    <a:lnTo>
                      <a:pt x="906" y="108"/>
                    </a:lnTo>
                    <a:lnTo>
                      <a:pt x="906" y="108"/>
                    </a:lnTo>
                    <a:lnTo>
                      <a:pt x="900" y="112"/>
                    </a:lnTo>
                    <a:lnTo>
                      <a:pt x="902" y="108"/>
                    </a:lnTo>
                    <a:lnTo>
                      <a:pt x="554" y="166"/>
                    </a:lnTo>
                    <a:lnTo>
                      <a:pt x="348" y="186"/>
                    </a:lnTo>
                    <a:lnTo>
                      <a:pt x="378" y="92"/>
                    </a:lnTo>
                    <a:lnTo>
                      <a:pt x="374" y="92"/>
                    </a:lnTo>
                    <a:lnTo>
                      <a:pt x="270" y="410"/>
                    </a:lnTo>
                    <a:lnTo>
                      <a:pt x="280" y="450"/>
                    </a:lnTo>
                    <a:lnTo>
                      <a:pt x="0" y="470"/>
                    </a:lnTo>
                    <a:lnTo>
                      <a:pt x="0" y="474"/>
                    </a:lnTo>
                    <a:lnTo>
                      <a:pt x="280" y="454"/>
                    </a:lnTo>
                    <a:lnTo>
                      <a:pt x="310" y="544"/>
                    </a:lnTo>
                    <a:lnTo>
                      <a:pt x="276" y="694"/>
                    </a:lnTo>
                    <a:lnTo>
                      <a:pt x="448" y="684"/>
                    </a:lnTo>
                    <a:lnTo>
                      <a:pt x="486" y="756"/>
                    </a:lnTo>
                    <a:lnTo>
                      <a:pt x="490" y="756"/>
                    </a:lnTo>
                    <a:lnTo>
                      <a:pt x="452" y="678"/>
                    </a:lnTo>
                    <a:lnTo>
                      <a:pt x="280" y="692"/>
                    </a:lnTo>
                    <a:lnTo>
                      <a:pt x="312" y="542"/>
                    </a:lnTo>
                    <a:lnTo>
                      <a:pt x="274" y="410"/>
                    </a:lnTo>
                    <a:lnTo>
                      <a:pt x="348" y="192"/>
                    </a:lnTo>
                    <a:lnTo>
                      <a:pt x="552" y="170"/>
                    </a:lnTo>
                    <a:lnTo>
                      <a:pt x="780" y="134"/>
                    </a:lnTo>
                    <a:lnTo>
                      <a:pt x="780" y="132"/>
                    </a:lnTo>
                    <a:lnTo>
                      <a:pt x="786" y="130"/>
                    </a:lnTo>
                    <a:lnTo>
                      <a:pt x="786" y="132"/>
                    </a:lnTo>
                    <a:lnTo>
                      <a:pt x="968" y="102"/>
                    </a:lnTo>
                    <a:lnTo>
                      <a:pt x="1218" y="6"/>
                    </a:lnTo>
                    <a:lnTo>
                      <a:pt x="1248" y="38"/>
                    </a:lnTo>
                    <a:lnTo>
                      <a:pt x="1330" y="22"/>
                    </a:lnTo>
                    <a:lnTo>
                      <a:pt x="1462" y="110"/>
                    </a:lnTo>
                    <a:lnTo>
                      <a:pt x="1464" y="104"/>
                    </a:lnTo>
                    <a:lnTo>
                      <a:pt x="1330" y="16"/>
                    </a:lnTo>
                    <a:lnTo>
                      <a:pt x="1250" y="3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2" name="Rectangle 2934"/>
              <p:cNvSpPr>
                <a:spLocks noChangeArrowheads="1"/>
              </p:cNvSpPr>
              <p:nvPr/>
            </p:nvSpPr>
            <p:spPr bwMode="auto">
              <a:xfrm>
                <a:off x="5370846" y="3971330"/>
                <a:ext cx="1286" cy="1286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3" name="Freeform 2935"/>
              <p:cNvSpPr>
                <a:spLocks/>
              </p:cNvSpPr>
              <p:nvPr/>
            </p:nvSpPr>
            <p:spPr bwMode="auto">
              <a:xfrm>
                <a:off x="6538076" y="3500838"/>
                <a:ext cx="7713" cy="5142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</a:cxnLst>
                <a:rect l="0" t="0" r="r" b="b"/>
                <a:pathLst>
                  <a:path w="6" h="4">
                    <a:moveTo>
                      <a:pt x="0" y="4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4" name="Freeform 2936"/>
              <p:cNvSpPr>
                <a:spLocks/>
              </p:cNvSpPr>
              <p:nvPr/>
            </p:nvSpPr>
            <p:spPr bwMode="auto">
              <a:xfrm>
                <a:off x="5370846" y="3966188"/>
                <a:ext cx="10284" cy="5142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8" h="4">
                    <a:moveTo>
                      <a:pt x="0" y="4"/>
                    </a:moveTo>
                    <a:lnTo>
                      <a:pt x="0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5" name="Rectangle 2937"/>
              <p:cNvSpPr>
                <a:spLocks noChangeArrowheads="1"/>
              </p:cNvSpPr>
              <p:nvPr/>
            </p:nvSpPr>
            <p:spPr bwMode="auto">
              <a:xfrm>
                <a:off x="5861906" y="3477699"/>
                <a:ext cx="5142" cy="2571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6" name="Freeform 2938"/>
              <p:cNvSpPr>
                <a:spLocks/>
              </p:cNvSpPr>
              <p:nvPr/>
            </p:nvSpPr>
            <p:spPr bwMode="auto">
              <a:xfrm>
                <a:off x="6265551" y="4277278"/>
                <a:ext cx="7713" cy="5142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6" y="4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4"/>
                  </a:cxn>
                </a:cxnLst>
                <a:rect l="0" t="0" r="r" b="b"/>
                <a:pathLst>
                  <a:path w="6" h="4">
                    <a:moveTo>
                      <a:pt x="0" y="4"/>
                    </a:moveTo>
                    <a:lnTo>
                      <a:pt x="6" y="4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7" name="Freeform 2939"/>
              <p:cNvSpPr>
                <a:spLocks/>
              </p:cNvSpPr>
              <p:nvPr/>
            </p:nvSpPr>
            <p:spPr bwMode="auto">
              <a:xfrm>
                <a:off x="6208989" y="3531690"/>
                <a:ext cx="858711" cy="748158"/>
              </a:xfrm>
              <a:custGeom>
                <a:avLst/>
                <a:gdLst/>
                <a:ahLst/>
                <a:cxnLst>
                  <a:cxn ang="0">
                    <a:pos x="278" y="474"/>
                  </a:cxn>
                  <a:cxn ang="0">
                    <a:pos x="280" y="486"/>
                  </a:cxn>
                  <a:cxn ang="0">
                    <a:pos x="302" y="516"/>
                  </a:cxn>
                  <a:cxn ang="0">
                    <a:pos x="562" y="474"/>
                  </a:cxn>
                  <a:cxn ang="0">
                    <a:pos x="604" y="488"/>
                  </a:cxn>
                  <a:cxn ang="0">
                    <a:pos x="604" y="438"/>
                  </a:cxn>
                  <a:cxn ang="0">
                    <a:pos x="668" y="438"/>
                  </a:cxn>
                  <a:cxn ang="0">
                    <a:pos x="668" y="430"/>
                  </a:cxn>
                  <a:cxn ang="0">
                    <a:pos x="598" y="432"/>
                  </a:cxn>
                  <a:cxn ang="0">
                    <a:pos x="598" y="480"/>
                  </a:cxn>
                  <a:cxn ang="0">
                    <a:pos x="564" y="468"/>
                  </a:cxn>
                  <a:cxn ang="0">
                    <a:pos x="302" y="510"/>
                  </a:cxn>
                  <a:cxn ang="0">
                    <a:pos x="284" y="486"/>
                  </a:cxn>
                  <a:cxn ang="0">
                    <a:pos x="262" y="330"/>
                  </a:cxn>
                  <a:cxn ang="0">
                    <a:pos x="142" y="0"/>
                  </a:cxn>
                  <a:cxn ang="0">
                    <a:pos x="136" y="2"/>
                  </a:cxn>
                  <a:cxn ang="0">
                    <a:pos x="260" y="332"/>
                  </a:cxn>
                  <a:cxn ang="0">
                    <a:pos x="278" y="468"/>
                  </a:cxn>
                  <a:cxn ang="0">
                    <a:pos x="0" y="492"/>
                  </a:cxn>
                  <a:cxn ang="0">
                    <a:pos x="44" y="582"/>
                  </a:cxn>
                  <a:cxn ang="0">
                    <a:pos x="48" y="580"/>
                  </a:cxn>
                  <a:cxn ang="0">
                    <a:pos x="4" y="494"/>
                  </a:cxn>
                  <a:cxn ang="0">
                    <a:pos x="278" y="474"/>
                  </a:cxn>
                </a:cxnLst>
                <a:rect l="0" t="0" r="r" b="b"/>
                <a:pathLst>
                  <a:path w="668" h="582">
                    <a:moveTo>
                      <a:pt x="278" y="474"/>
                    </a:moveTo>
                    <a:lnTo>
                      <a:pt x="280" y="486"/>
                    </a:lnTo>
                    <a:lnTo>
                      <a:pt x="302" y="516"/>
                    </a:lnTo>
                    <a:lnTo>
                      <a:pt x="562" y="474"/>
                    </a:lnTo>
                    <a:lnTo>
                      <a:pt x="604" y="488"/>
                    </a:lnTo>
                    <a:lnTo>
                      <a:pt x="604" y="438"/>
                    </a:lnTo>
                    <a:lnTo>
                      <a:pt x="668" y="438"/>
                    </a:lnTo>
                    <a:lnTo>
                      <a:pt x="668" y="430"/>
                    </a:lnTo>
                    <a:lnTo>
                      <a:pt x="598" y="432"/>
                    </a:lnTo>
                    <a:lnTo>
                      <a:pt x="598" y="480"/>
                    </a:lnTo>
                    <a:lnTo>
                      <a:pt x="564" y="468"/>
                    </a:lnTo>
                    <a:lnTo>
                      <a:pt x="302" y="510"/>
                    </a:lnTo>
                    <a:lnTo>
                      <a:pt x="284" y="486"/>
                    </a:lnTo>
                    <a:lnTo>
                      <a:pt x="262" y="330"/>
                    </a:lnTo>
                    <a:lnTo>
                      <a:pt x="142" y="0"/>
                    </a:lnTo>
                    <a:lnTo>
                      <a:pt x="136" y="2"/>
                    </a:lnTo>
                    <a:lnTo>
                      <a:pt x="260" y="332"/>
                    </a:lnTo>
                    <a:lnTo>
                      <a:pt x="278" y="468"/>
                    </a:lnTo>
                    <a:lnTo>
                      <a:pt x="0" y="492"/>
                    </a:lnTo>
                    <a:lnTo>
                      <a:pt x="44" y="582"/>
                    </a:lnTo>
                    <a:lnTo>
                      <a:pt x="48" y="580"/>
                    </a:lnTo>
                    <a:lnTo>
                      <a:pt x="4" y="494"/>
                    </a:lnTo>
                    <a:lnTo>
                      <a:pt x="278" y="47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8" name="Freeform 2940"/>
              <p:cNvSpPr>
                <a:spLocks/>
              </p:cNvSpPr>
              <p:nvPr/>
            </p:nvSpPr>
            <p:spPr bwMode="auto">
              <a:xfrm>
                <a:off x="6383817" y="3529119"/>
                <a:ext cx="7713" cy="514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6" y="2"/>
                  </a:cxn>
                  <a:cxn ang="0">
                    <a:pos x="6" y="0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6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9" name="Freeform 2941"/>
              <p:cNvSpPr>
                <a:spLocks/>
              </p:cNvSpPr>
              <p:nvPr/>
            </p:nvSpPr>
            <p:spPr bwMode="auto">
              <a:xfrm>
                <a:off x="7093410" y="3855635"/>
                <a:ext cx="5142" cy="7713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6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0" name="Freeform 2942"/>
              <p:cNvSpPr>
                <a:spLocks/>
              </p:cNvSpPr>
              <p:nvPr/>
            </p:nvSpPr>
            <p:spPr bwMode="auto">
              <a:xfrm>
                <a:off x="6689765" y="3457131"/>
                <a:ext cx="406217" cy="401075"/>
              </a:xfrm>
              <a:custGeom>
                <a:avLst/>
                <a:gdLst/>
                <a:ahLst/>
                <a:cxnLst>
                  <a:cxn ang="0">
                    <a:pos x="54" y="50"/>
                  </a:cxn>
                  <a:cxn ang="0">
                    <a:pos x="6" y="54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0" y="56"/>
                  </a:cxn>
                  <a:cxn ang="0">
                    <a:pos x="52" y="54"/>
                  </a:cxn>
                  <a:cxn ang="0">
                    <a:pos x="52" y="88"/>
                  </a:cxn>
                  <a:cxn ang="0">
                    <a:pos x="314" y="312"/>
                  </a:cxn>
                  <a:cxn ang="0">
                    <a:pos x="316" y="310"/>
                  </a:cxn>
                  <a:cxn ang="0">
                    <a:pos x="54" y="86"/>
                  </a:cxn>
                  <a:cxn ang="0">
                    <a:pos x="54" y="50"/>
                  </a:cxn>
                </a:cxnLst>
                <a:rect l="0" t="0" r="r" b="b"/>
                <a:pathLst>
                  <a:path w="316" h="312">
                    <a:moveTo>
                      <a:pt x="54" y="50"/>
                    </a:moveTo>
                    <a:lnTo>
                      <a:pt x="6" y="54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0" y="56"/>
                    </a:lnTo>
                    <a:lnTo>
                      <a:pt x="52" y="54"/>
                    </a:lnTo>
                    <a:lnTo>
                      <a:pt x="52" y="88"/>
                    </a:lnTo>
                    <a:lnTo>
                      <a:pt x="314" y="312"/>
                    </a:lnTo>
                    <a:lnTo>
                      <a:pt x="316" y="310"/>
                    </a:lnTo>
                    <a:lnTo>
                      <a:pt x="54" y="86"/>
                    </a:lnTo>
                    <a:lnTo>
                      <a:pt x="54" y="5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1" name="Freeform 2943"/>
              <p:cNvSpPr>
                <a:spLocks/>
              </p:cNvSpPr>
              <p:nvPr/>
            </p:nvSpPr>
            <p:spPr bwMode="auto">
              <a:xfrm>
                <a:off x="6460946" y="2418451"/>
                <a:ext cx="15426" cy="5142"/>
              </a:xfrm>
              <a:custGeom>
                <a:avLst/>
                <a:gdLst/>
                <a:ahLst/>
                <a:cxnLst>
                  <a:cxn ang="0">
                    <a:pos x="12" y="2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6" y="4"/>
                  </a:cxn>
                  <a:cxn ang="0">
                    <a:pos x="12" y="2"/>
                  </a:cxn>
                </a:cxnLst>
                <a:rect l="0" t="0" r="r" b="b"/>
                <a:pathLst>
                  <a:path w="12" h="4">
                    <a:moveTo>
                      <a:pt x="12" y="2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6" y="4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2" name="Freeform 2944"/>
              <p:cNvSpPr>
                <a:spLocks/>
              </p:cNvSpPr>
              <p:nvPr/>
            </p:nvSpPr>
            <p:spPr bwMode="auto">
              <a:xfrm>
                <a:off x="6031591" y="2480155"/>
                <a:ext cx="10284" cy="7713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8" h="6">
                    <a:moveTo>
                      <a:pt x="6" y="0"/>
                    </a:moveTo>
                    <a:lnTo>
                      <a:pt x="0" y="6"/>
                    </a:lnTo>
                    <a:lnTo>
                      <a:pt x="2" y="6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3" name="Freeform 2945"/>
              <p:cNvSpPr>
                <a:spLocks/>
              </p:cNvSpPr>
              <p:nvPr/>
            </p:nvSpPr>
            <p:spPr bwMode="auto">
              <a:xfrm>
                <a:off x="6034162" y="2421022"/>
                <a:ext cx="434498" cy="439639"/>
              </a:xfrm>
              <a:custGeom>
                <a:avLst/>
                <a:gdLst/>
                <a:ahLst/>
                <a:cxnLst>
                  <a:cxn ang="0">
                    <a:pos x="258" y="342"/>
                  </a:cxn>
                  <a:cxn ang="0">
                    <a:pos x="258" y="340"/>
                  </a:cxn>
                  <a:cxn ang="0">
                    <a:pos x="262" y="340"/>
                  </a:cxn>
                  <a:cxn ang="0">
                    <a:pos x="196" y="46"/>
                  </a:cxn>
                  <a:cxn ang="0">
                    <a:pos x="338" y="2"/>
                  </a:cxn>
                  <a:cxn ang="0">
                    <a:pos x="332" y="0"/>
                  </a:cxn>
                  <a:cxn ang="0">
                    <a:pos x="194" y="42"/>
                  </a:cxn>
                  <a:cxn ang="0">
                    <a:pos x="6" y="46"/>
                  </a:cxn>
                  <a:cxn ang="0">
                    <a:pos x="0" y="52"/>
                  </a:cxn>
                  <a:cxn ang="0">
                    <a:pos x="190" y="46"/>
                  </a:cxn>
                  <a:cxn ang="0">
                    <a:pos x="258" y="342"/>
                  </a:cxn>
                </a:cxnLst>
                <a:rect l="0" t="0" r="r" b="b"/>
                <a:pathLst>
                  <a:path w="338" h="342">
                    <a:moveTo>
                      <a:pt x="258" y="342"/>
                    </a:moveTo>
                    <a:lnTo>
                      <a:pt x="258" y="340"/>
                    </a:lnTo>
                    <a:lnTo>
                      <a:pt x="262" y="340"/>
                    </a:lnTo>
                    <a:lnTo>
                      <a:pt x="196" y="46"/>
                    </a:lnTo>
                    <a:lnTo>
                      <a:pt x="338" y="2"/>
                    </a:lnTo>
                    <a:lnTo>
                      <a:pt x="332" y="0"/>
                    </a:lnTo>
                    <a:lnTo>
                      <a:pt x="194" y="42"/>
                    </a:lnTo>
                    <a:lnTo>
                      <a:pt x="6" y="46"/>
                    </a:lnTo>
                    <a:lnTo>
                      <a:pt x="0" y="52"/>
                    </a:lnTo>
                    <a:lnTo>
                      <a:pt x="190" y="46"/>
                    </a:lnTo>
                    <a:lnTo>
                      <a:pt x="258" y="34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4" name="Freeform 2946"/>
              <p:cNvSpPr>
                <a:spLocks/>
              </p:cNvSpPr>
              <p:nvPr/>
            </p:nvSpPr>
            <p:spPr bwMode="auto">
              <a:xfrm>
                <a:off x="6018736" y="2863233"/>
                <a:ext cx="357368" cy="300806"/>
              </a:xfrm>
              <a:custGeom>
                <a:avLst/>
                <a:gdLst/>
                <a:ahLst/>
                <a:cxnLst>
                  <a:cxn ang="0">
                    <a:pos x="274" y="12"/>
                  </a:cxn>
                  <a:cxn ang="0">
                    <a:pos x="236" y="52"/>
                  </a:cxn>
                  <a:cxn ang="0">
                    <a:pos x="186" y="160"/>
                  </a:cxn>
                  <a:cxn ang="0">
                    <a:pos x="158" y="146"/>
                  </a:cxn>
                  <a:cxn ang="0">
                    <a:pos x="78" y="200"/>
                  </a:cxn>
                  <a:cxn ang="0">
                    <a:pos x="54" y="186"/>
                  </a:cxn>
                  <a:cxn ang="0">
                    <a:pos x="0" y="230"/>
                  </a:cxn>
                  <a:cxn ang="0">
                    <a:pos x="0" y="234"/>
                  </a:cxn>
                  <a:cxn ang="0">
                    <a:pos x="54" y="190"/>
                  </a:cxn>
                  <a:cxn ang="0">
                    <a:pos x="78" y="206"/>
                  </a:cxn>
                  <a:cxn ang="0">
                    <a:pos x="158" y="150"/>
                  </a:cxn>
                  <a:cxn ang="0">
                    <a:pos x="188" y="164"/>
                  </a:cxn>
                  <a:cxn ang="0">
                    <a:pos x="238" y="54"/>
                  </a:cxn>
                  <a:cxn ang="0">
                    <a:pos x="278" y="14"/>
                  </a:cxn>
                  <a:cxn ang="0">
                    <a:pos x="274" y="2"/>
                  </a:cxn>
                  <a:cxn ang="0">
                    <a:pos x="270" y="0"/>
                  </a:cxn>
                  <a:cxn ang="0">
                    <a:pos x="274" y="12"/>
                  </a:cxn>
                </a:cxnLst>
                <a:rect l="0" t="0" r="r" b="b"/>
                <a:pathLst>
                  <a:path w="278" h="234">
                    <a:moveTo>
                      <a:pt x="274" y="12"/>
                    </a:moveTo>
                    <a:lnTo>
                      <a:pt x="236" y="52"/>
                    </a:lnTo>
                    <a:lnTo>
                      <a:pt x="186" y="160"/>
                    </a:lnTo>
                    <a:lnTo>
                      <a:pt x="158" y="146"/>
                    </a:lnTo>
                    <a:lnTo>
                      <a:pt x="78" y="200"/>
                    </a:lnTo>
                    <a:lnTo>
                      <a:pt x="54" y="186"/>
                    </a:lnTo>
                    <a:lnTo>
                      <a:pt x="0" y="230"/>
                    </a:lnTo>
                    <a:lnTo>
                      <a:pt x="0" y="234"/>
                    </a:lnTo>
                    <a:lnTo>
                      <a:pt x="54" y="190"/>
                    </a:lnTo>
                    <a:lnTo>
                      <a:pt x="78" y="206"/>
                    </a:lnTo>
                    <a:lnTo>
                      <a:pt x="158" y="150"/>
                    </a:lnTo>
                    <a:lnTo>
                      <a:pt x="188" y="164"/>
                    </a:lnTo>
                    <a:lnTo>
                      <a:pt x="238" y="54"/>
                    </a:lnTo>
                    <a:lnTo>
                      <a:pt x="278" y="14"/>
                    </a:lnTo>
                    <a:lnTo>
                      <a:pt x="274" y="2"/>
                    </a:lnTo>
                    <a:lnTo>
                      <a:pt x="270" y="0"/>
                    </a:lnTo>
                    <a:lnTo>
                      <a:pt x="274" y="1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5" name="Freeform 2947"/>
              <p:cNvSpPr>
                <a:spLocks/>
              </p:cNvSpPr>
              <p:nvPr/>
            </p:nvSpPr>
            <p:spPr bwMode="auto">
              <a:xfrm>
                <a:off x="7167969" y="2603562"/>
                <a:ext cx="2571" cy="25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6" name="Freeform 2948"/>
              <p:cNvSpPr>
                <a:spLocks/>
              </p:cNvSpPr>
              <p:nvPr/>
            </p:nvSpPr>
            <p:spPr bwMode="auto">
              <a:xfrm>
                <a:off x="6365820" y="2860662"/>
                <a:ext cx="1286" cy="2571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7" name="Freeform 2949"/>
              <p:cNvSpPr>
                <a:spLocks/>
              </p:cNvSpPr>
              <p:nvPr/>
            </p:nvSpPr>
            <p:spPr bwMode="auto">
              <a:xfrm>
                <a:off x="6370962" y="2313040"/>
                <a:ext cx="431927" cy="686455"/>
              </a:xfrm>
              <a:custGeom>
                <a:avLst/>
                <a:gdLst/>
                <a:ahLst/>
                <a:cxnLst>
                  <a:cxn ang="0">
                    <a:pos x="106" y="466"/>
                  </a:cxn>
                  <a:cxn ang="0">
                    <a:pos x="196" y="454"/>
                  </a:cxn>
                  <a:cxn ang="0">
                    <a:pos x="220" y="470"/>
                  </a:cxn>
                  <a:cxn ang="0">
                    <a:pos x="234" y="512"/>
                  </a:cxn>
                  <a:cxn ang="0">
                    <a:pos x="286" y="534"/>
                  </a:cxn>
                  <a:cxn ang="0">
                    <a:pos x="288" y="532"/>
                  </a:cxn>
                  <a:cxn ang="0">
                    <a:pos x="236" y="510"/>
                  </a:cxn>
                  <a:cxn ang="0">
                    <a:pos x="226" y="474"/>
                  </a:cxn>
                  <a:cxn ang="0">
                    <a:pos x="232" y="480"/>
                  </a:cxn>
                  <a:cxn ang="0">
                    <a:pos x="290" y="348"/>
                  </a:cxn>
                  <a:cxn ang="0">
                    <a:pos x="324" y="288"/>
                  </a:cxn>
                  <a:cxn ang="0">
                    <a:pos x="334" y="210"/>
                  </a:cxn>
                  <a:cxn ang="0">
                    <a:pos x="334" y="208"/>
                  </a:cxn>
                  <a:cxn ang="0">
                    <a:pos x="334" y="208"/>
                  </a:cxn>
                  <a:cxn ang="0">
                    <a:pos x="336" y="200"/>
                  </a:cxn>
                  <a:cxn ang="0">
                    <a:pos x="262" y="0"/>
                  </a:cxn>
                  <a:cxn ang="0">
                    <a:pos x="260" y="6"/>
                  </a:cxn>
                  <a:cxn ang="0">
                    <a:pos x="330" y="202"/>
                  </a:cxn>
                  <a:cxn ang="0">
                    <a:pos x="320" y="286"/>
                  </a:cxn>
                  <a:cxn ang="0">
                    <a:pos x="288" y="346"/>
                  </a:cxn>
                  <a:cxn ang="0">
                    <a:pos x="232" y="470"/>
                  </a:cxn>
                  <a:cxn ang="0">
                    <a:pos x="198" y="450"/>
                  </a:cxn>
                  <a:cxn ang="0">
                    <a:pos x="106" y="462"/>
                  </a:cxn>
                  <a:cxn ang="0">
                    <a:pos x="0" y="424"/>
                  </a:cxn>
                  <a:cxn ang="0">
                    <a:pos x="0" y="430"/>
                  </a:cxn>
                  <a:cxn ang="0">
                    <a:pos x="106" y="466"/>
                  </a:cxn>
                </a:cxnLst>
                <a:rect l="0" t="0" r="r" b="b"/>
                <a:pathLst>
                  <a:path w="336" h="534">
                    <a:moveTo>
                      <a:pt x="106" y="466"/>
                    </a:moveTo>
                    <a:lnTo>
                      <a:pt x="196" y="454"/>
                    </a:lnTo>
                    <a:lnTo>
                      <a:pt x="220" y="470"/>
                    </a:lnTo>
                    <a:lnTo>
                      <a:pt x="234" y="512"/>
                    </a:lnTo>
                    <a:lnTo>
                      <a:pt x="286" y="534"/>
                    </a:lnTo>
                    <a:lnTo>
                      <a:pt x="288" y="532"/>
                    </a:lnTo>
                    <a:lnTo>
                      <a:pt x="236" y="510"/>
                    </a:lnTo>
                    <a:lnTo>
                      <a:pt x="226" y="474"/>
                    </a:lnTo>
                    <a:lnTo>
                      <a:pt x="232" y="480"/>
                    </a:lnTo>
                    <a:lnTo>
                      <a:pt x="290" y="348"/>
                    </a:lnTo>
                    <a:lnTo>
                      <a:pt x="324" y="288"/>
                    </a:lnTo>
                    <a:lnTo>
                      <a:pt x="334" y="210"/>
                    </a:lnTo>
                    <a:lnTo>
                      <a:pt x="334" y="208"/>
                    </a:lnTo>
                    <a:lnTo>
                      <a:pt x="334" y="208"/>
                    </a:lnTo>
                    <a:lnTo>
                      <a:pt x="336" y="200"/>
                    </a:lnTo>
                    <a:lnTo>
                      <a:pt x="262" y="0"/>
                    </a:lnTo>
                    <a:lnTo>
                      <a:pt x="260" y="6"/>
                    </a:lnTo>
                    <a:lnTo>
                      <a:pt x="330" y="202"/>
                    </a:lnTo>
                    <a:lnTo>
                      <a:pt x="320" y="286"/>
                    </a:lnTo>
                    <a:lnTo>
                      <a:pt x="288" y="346"/>
                    </a:lnTo>
                    <a:lnTo>
                      <a:pt x="232" y="470"/>
                    </a:lnTo>
                    <a:lnTo>
                      <a:pt x="198" y="450"/>
                    </a:lnTo>
                    <a:lnTo>
                      <a:pt x="106" y="462"/>
                    </a:lnTo>
                    <a:lnTo>
                      <a:pt x="0" y="424"/>
                    </a:lnTo>
                    <a:lnTo>
                      <a:pt x="0" y="430"/>
                    </a:lnTo>
                    <a:lnTo>
                      <a:pt x="106" y="46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8" name="Freeform 2950"/>
              <p:cNvSpPr>
                <a:spLocks/>
              </p:cNvSpPr>
              <p:nvPr/>
            </p:nvSpPr>
            <p:spPr bwMode="auto">
              <a:xfrm>
                <a:off x="6743755" y="2608704"/>
                <a:ext cx="424214" cy="437068"/>
              </a:xfrm>
              <a:custGeom>
                <a:avLst/>
                <a:gdLst/>
                <a:ahLst/>
                <a:cxnLst>
                  <a:cxn ang="0">
                    <a:pos x="328" y="0"/>
                  </a:cxn>
                  <a:cxn ang="0">
                    <a:pos x="312" y="22"/>
                  </a:cxn>
                  <a:cxn ang="0">
                    <a:pos x="272" y="22"/>
                  </a:cxn>
                  <a:cxn ang="0">
                    <a:pos x="230" y="84"/>
                  </a:cxn>
                  <a:cxn ang="0">
                    <a:pos x="202" y="154"/>
                  </a:cxn>
                  <a:cxn ang="0">
                    <a:pos x="172" y="130"/>
                  </a:cxn>
                  <a:cxn ang="0">
                    <a:pos x="142" y="294"/>
                  </a:cxn>
                  <a:cxn ang="0">
                    <a:pos x="72" y="336"/>
                  </a:cxn>
                  <a:cxn ang="0">
                    <a:pos x="0" y="304"/>
                  </a:cxn>
                  <a:cxn ang="0">
                    <a:pos x="0" y="304"/>
                  </a:cxn>
                  <a:cxn ang="0">
                    <a:pos x="0" y="306"/>
                  </a:cxn>
                  <a:cxn ang="0">
                    <a:pos x="72" y="340"/>
                  </a:cxn>
                  <a:cxn ang="0">
                    <a:pos x="144" y="296"/>
                  </a:cxn>
                  <a:cxn ang="0">
                    <a:pos x="174" y="132"/>
                  </a:cxn>
                  <a:cxn ang="0">
                    <a:pos x="202" y="158"/>
                  </a:cxn>
                  <a:cxn ang="0">
                    <a:pos x="232" y="84"/>
                  </a:cxn>
                  <a:cxn ang="0">
                    <a:pos x="274" y="26"/>
                  </a:cxn>
                  <a:cxn ang="0">
                    <a:pos x="312" y="26"/>
                  </a:cxn>
                  <a:cxn ang="0">
                    <a:pos x="330" y="0"/>
                  </a:cxn>
                  <a:cxn ang="0">
                    <a:pos x="330" y="0"/>
                  </a:cxn>
                  <a:cxn ang="0">
                    <a:pos x="328" y="0"/>
                  </a:cxn>
                </a:cxnLst>
                <a:rect l="0" t="0" r="r" b="b"/>
                <a:pathLst>
                  <a:path w="330" h="340">
                    <a:moveTo>
                      <a:pt x="328" y="0"/>
                    </a:moveTo>
                    <a:lnTo>
                      <a:pt x="312" y="22"/>
                    </a:lnTo>
                    <a:lnTo>
                      <a:pt x="272" y="22"/>
                    </a:lnTo>
                    <a:lnTo>
                      <a:pt x="230" y="84"/>
                    </a:lnTo>
                    <a:lnTo>
                      <a:pt x="202" y="154"/>
                    </a:lnTo>
                    <a:lnTo>
                      <a:pt x="172" y="130"/>
                    </a:lnTo>
                    <a:lnTo>
                      <a:pt x="142" y="294"/>
                    </a:lnTo>
                    <a:lnTo>
                      <a:pt x="72" y="336"/>
                    </a:lnTo>
                    <a:lnTo>
                      <a:pt x="0" y="304"/>
                    </a:lnTo>
                    <a:lnTo>
                      <a:pt x="0" y="304"/>
                    </a:lnTo>
                    <a:lnTo>
                      <a:pt x="0" y="306"/>
                    </a:lnTo>
                    <a:lnTo>
                      <a:pt x="72" y="340"/>
                    </a:lnTo>
                    <a:lnTo>
                      <a:pt x="144" y="296"/>
                    </a:lnTo>
                    <a:lnTo>
                      <a:pt x="174" y="132"/>
                    </a:lnTo>
                    <a:lnTo>
                      <a:pt x="202" y="158"/>
                    </a:lnTo>
                    <a:lnTo>
                      <a:pt x="232" y="84"/>
                    </a:lnTo>
                    <a:lnTo>
                      <a:pt x="274" y="26"/>
                    </a:lnTo>
                    <a:lnTo>
                      <a:pt x="312" y="26"/>
                    </a:lnTo>
                    <a:lnTo>
                      <a:pt x="330" y="0"/>
                    </a:lnTo>
                    <a:lnTo>
                      <a:pt x="330" y="0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9" name="Freeform 2951"/>
              <p:cNvSpPr>
                <a:spLocks/>
              </p:cNvSpPr>
              <p:nvPr/>
            </p:nvSpPr>
            <p:spPr bwMode="auto">
              <a:xfrm>
                <a:off x="6738613" y="2996924"/>
                <a:ext cx="5142" cy="5142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4" y="2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0" name="Freeform 2952"/>
              <p:cNvSpPr>
                <a:spLocks/>
              </p:cNvSpPr>
              <p:nvPr/>
            </p:nvSpPr>
            <p:spPr bwMode="auto">
              <a:xfrm>
                <a:off x="6365820" y="2858091"/>
                <a:ext cx="5142" cy="7713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4"/>
                  </a:cxn>
                  <a:cxn ang="0">
                    <a:pos x="4" y="6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4" h="6">
                    <a:moveTo>
                      <a:pt x="0" y="2"/>
                    </a:moveTo>
                    <a:lnTo>
                      <a:pt x="0" y="4"/>
                    </a:lnTo>
                    <a:lnTo>
                      <a:pt x="4" y="6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1" name="Freeform 2953"/>
              <p:cNvSpPr>
                <a:spLocks/>
              </p:cNvSpPr>
              <p:nvPr/>
            </p:nvSpPr>
            <p:spPr bwMode="auto">
              <a:xfrm>
                <a:off x="7497056" y="2724399"/>
                <a:ext cx="5142" cy="7713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4" y="6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2" name="Freeform 2954"/>
              <p:cNvSpPr>
                <a:spLocks/>
              </p:cNvSpPr>
              <p:nvPr/>
            </p:nvSpPr>
            <p:spPr bwMode="auto">
              <a:xfrm>
                <a:off x="7167969" y="2606133"/>
                <a:ext cx="331658" cy="151688"/>
              </a:xfrm>
              <a:custGeom>
                <a:avLst/>
                <a:gdLst/>
                <a:ahLst/>
                <a:cxnLst>
                  <a:cxn ang="0">
                    <a:pos x="54" y="106"/>
                  </a:cxn>
                  <a:cxn ang="0">
                    <a:pos x="64" y="26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60" y="28"/>
                  </a:cxn>
                  <a:cxn ang="0">
                    <a:pos x="50" y="108"/>
                  </a:cxn>
                  <a:cxn ang="0">
                    <a:pos x="172" y="118"/>
                  </a:cxn>
                  <a:cxn ang="0">
                    <a:pos x="256" y="98"/>
                  </a:cxn>
                  <a:cxn ang="0">
                    <a:pos x="258" y="94"/>
                  </a:cxn>
                  <a:cxn ang="0">
                    <a:pos x="176" y="116"/>
                  </a:cxn>
                  <a:cxn ang="0">
                    <a:pos x="54" y="106"/>
                  </a:cxn>
                </a:cxnLst>
                <a:rect l="0" t="0" r="r" b="b"/>
                <a:pathLst>
                  <a:path w="258" h="118">
                    <a:moveTo>
                      <a:pt x="54" y="106"/>
                    </a:moveTo>
                    <a:lnTo>
                      <a:pt x="64" y="26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60" y="28"/>
                    </a:lnTo>
                    <a:lnTo>
                      <a:pt x="50" y="108"/>
                    </a:lnTo>
                    <a:lnTo>
                      <a:pt x="172" y="118"/>
                    </a:lnTo>
                    <a:lnTo>
                      <a:pt x="256" y="98"/>
                    </a:lnTo>
                    <a:lnTo>
                      <a:pt x="258" y="94"/>
                    </a:lnTo>
                    <a:lnTo>
                      <a:pt x="176" y="116"/>
                    </a:lnTo>
                    <a:lnTo>
                      <a:pt x="54" y="10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3" name="Freeform 2955"/>
              <p:cNvSpPr>
                <a:spLocks/>
              </p:cNvSpPr>
              <p:nvPr/>
            </p:nvSpPr>
            <p:spPr bwMode="auto">
              <a:xfrm>
                <a:off x="6800317" y="2575282"/>
                <a:ext cx="367652" cy="92556"/>
              </a:xfrm>
              <a:custGeom>
                <a:avLst/>
                <a:gdLst/>
                <a:ahLst/>
                <a:cxnLst>
                  <a:cxn ang="0">
                    <a:pos x="18" y="56"/>
                  </a:cxn>
                  <a:cxn ang="0">
                    <a:pos x="106" y="26"/>
                  </a:cxn>
                  <a:cxn ang="0">
                    <a:pos x="132" y="72"/>
                  </a:cxn>
                  <a:cxn ang="0">
                    <a:pos x="238" y="16"/>
                  </a:cxn>
                  <a:cxn ang="0">
                    <a:pos x="284" y="26"/>
                  </a:cxn>
                  <a:cxn ang="0">
                    <a:pos x="286" y="24"/>
                  </a:cxn>
                  <a:cxn ang="0">
                    <a:pos x="234" y="12"/>
                  </a:cxn>
                  <a:cxn ang="0">
                    <a:pos x="132" y="68"/>
                  </a:cxn>
                  <a:cxn ang="0">
                    <a:pos x="108" y="26"/>
                  </a:cxn>
                  <a:cxn ang="0">
                    <a:pos x="108" y="26"/>
                  </a:cxn>
                  <a:cxn ang="0">
                    <a:pos x="106" y="24"/>
                  </a:cxn>
                  <a:cxn ang="0">
                    <a:pos x="20" y="5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18" y="56"/>
                  </a:cxn>
                </a:cxnLst>
                <a:rect l="0" t="0" r="r" b="b"/>
                <a:pathLst>
                  <a:path w="286" h="72">
                    <a:moveTo>
                      <a:pt x="18" y="56"/>
                    </a:moveTo>
                    <a:lnTo>
                      <a:pt x="106" y="26"/>
                    </a:lnTo>
                    <a:lnTo>
                      <a:pt x="132" y="72"/>
                    </a:lnTo>
                    <a:lnTo>
                      <a:pt x="238" y="16"/>
                    </a:lnTo>
                    <a:lnTo>
                      <a:pt x="284" y="26"/>
                    </a:lnTo>
                    <a:lnTo>
                      <a:pt x="286" y="24"/>
                    </a:lnTo>
                    <a:lnTo>
                      <a:pt x="234" y="12"/>
                    </a:lnTo>
                    <a:lnTo>
                      <a:pt x="132" y="68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6" y="24"/>
                    </a:lnTo>
                    <a:lnTo>
                      <a:pt x="20" y="5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18" y="5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4" name="Freeform 2956"/>
              <p:cNvSpPr>
                <a:spLocks/>
              </p:cNvSpPr>
              <p:nvPr/>
            </p:nvSpPr>
            <p:spPr bwMode="auto">
              <a:xfrm>
                <a:off x="7165398" y="2606133"/>
                <a:ext cx="5142" cy="2571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2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2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5" name="Rectangle 2957"/>
              <p:cNvSpPr>
                <a:spLocks noChangeArrowheads="1"/>
              </p:cNvSpPr>
              <p:nvPr/>
            </p:nvSpPr>
            <p:spPr bwMode="auto">
              <a:xfrm>
                <a:off x="6800317" y="2580423"/>
                <a:ext cx="1286" cy="2571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6" name="Freeform 2958"/>
              <p:cNvSpPr>
                <a:spLocks/>
              </p:cNvSpPr>
              <p:nvPr/>
            </p:nvSpPr>
            <p:spPr bwMode="auto">
              <a:xfrm>
                <a:off x="6792604" y="2122787"/>
                <a:ext cx="629893" cy="347084"/>
              </a:xfrm>
              <a:custGeom>
                <a:avLst/>
                <a:gdLst/>
                <a:ahLst/>
                <a:cxnLst>
                  <a:cxn ang="0">
                    <a:pos x="462" y="258"/>
                  </a:cxn>
                  <a:cxn ang="0">
                    <a:pos x="490" y="190"/>
                  </a:cxn>
                  <a:cxn ang="0">
                    <a:pos x="452" y="138"/>
                  </a:cxn>
                  <a:cxn ang="0">
                    <a:pos x="462" y="68"/>
                  </a:cxn>
                  <a:cxn ang="0">
                    <a:pos x="382" y="0"/>
                  </a:cxn>
                  <a:cxn ang="0">
                    <a:pos x="18" y="120"/>
                  </a:cxn>
                  <a:cxn ang="0">
                    <a:pos x="2" y="74"/>
                  </a:cxn>
                  <a:cxn ang="0">
                    <a:pos x="0" y="76"/>
                  </a:cxn>
                  <a:cxn ang="0">
                    <a:pos x="16" y="124"/>
                  </a:cxn>
                  <a:cxn ang="0">
                    <a:pos x="382" y="4"/>
                  </a:cxn>
                  <a:cxn ang="0">
                    <a:pos x="458" y="70"/>
                  </a:cxn>
                  <a:cxn ang="0">
                    <a:pos x="448" y="138"/>
                  </a:cxn>
                  <a:cxn ang="0">
                    <a:pos x="488" y="190"/>
                  </a:cxn>
                  <a:cxn ang="0">
                    <a:pos x="458" y="256"/>
                  </a:cxn>
                  <a:cxn ang="0">
                    <a:pos x="428" y="266"/>
                  </a:cxn>
                  <a:cxn ang="0">
                    <a:pos x="430" y="270"/>
                  </a:cxn>
                  <a:cxn ang="0">
                    <a:pos x="462" y="258"/>
                  </a:cxn>
                </a:cxnLst>
                <a:rect l="0" t="0" r="r" b="b"/>
                <a:pathLst>
                  <a:path w="490" h="270">
                    <a:moveTo>
                      <a:pt x="462" y="258"/>
                    </a:moveTo>
                    <a:lnTo>
                      <a:pt x="490" y="190"/>
                    </a:lnTo>
                    <a:lnTo>
                      <a:pt x="452" y="138"/>
                    </a:lnTo>
                    <a:lnTo>
                      <a:pt x="462" y="68"/>
                    </a:lnTo>
                    <a:lnTo>
                      <a:pt x="382" y="0"/>
                    </a:lnTo>
                    <a:lnTo>
                      <a:pt x="18" y="120"/>
                    </a:lnTo>
                    <a:lnTo>
                      <a:pt x="2" y="74"/>
                    </a:lnTo>
                    <a:lnTo>
                      <a:pt x="0" y="76"/>
                    </a:lnTo>
                    <a:lnTo>
                      <a:pt x="16" y="124"/>
                    </a:lnTo>
                    <a:lnTo>
                      <a:pt x="382" y="4"/>
                    </a:lnTo>
                    <a:lnTo>
                      <a:pt x="458" y="70"/>
                    </a:lnTo>
                    <a:lnTo>
                      <a:pt x="448" y="138"/>
                    </a:lnTo>
                    <a:lnTo>
                      <a:pt x="488" y="190"/>
                    </a:lnTo>
                    <a:lnTo>
                      <a:pt x="458" y="256"/>
                    </a:lnTo>
                    <a:lnTo>
                      <a:pt x="428" y="266"/>
                    </a:lnTo>
                    <a:lnTo>
                      <a:pt x="430" y="270"/>
                    </a:lnTo>
                    <a:lnTo>
                      <a:pt x="462" y="25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7" name="Freeform 2959"/>
              <p:cNvSpPr>
                <a:spLocks/>
              </p:cNvSpPr>
              <p:nvPr/>
            </p:nvSpPr>
            <p:spPr bwMode="auto">
              <a:xfrm>
                <a:off x="6934009" y="2464729"/>
                <a:ext cx="411359" cy="143975"/>
              </a:xfrm>
              <a:custGeom>
                <a:avLst/>
                <a:gdLst/>
                <a:ahLst/>
                <a:cxnLst>
                  <a:cxn ang="0">
                    <a:pos x="4" y="112"/>
                  </a:cxn>
                  <a:cxn ang="0">
                    <a:pos x="320" y="4"/>
                  </a:cxn>
                  <a:cxn ang="0">
                    <a:pos x="318" y="0"/>
                  </a:cxn>
                  <a:cxn ang="0">
                    <a:pos x="0" y="110"/>
                  </a:cxn>
                  <a:cxn ang="0">
                    <a:pos x="2" y="110"/>
                  </a:cxn>
                  <a:cxn ang="0">
                    <a:pos x="2" y="110"/>
                  </a:cxn>
                  <a:cxn ang="0">
                    <a:pos x="4" y="112"/>
                  </a:cxn>
                </a:cxnLst>
                <a:rect l="0" t="0" r="r" b="b"/>
                <a:pathLst>
                  <a:path w="320" h="112">
                    <a:moveTo>
                      <a:pt x="4" y="112"/>
                    </a:moveTo>
                    <a:lnTo>
                      <a:pt x="320" y="4"/>
                    </a:lnTo>
                    <a:lnTo>
                      <a:pt x="318" y="0"/>
                    </a:lnTo>
                    <a:lnTo>
                      <a:pt x="0" y="110"/>
                    </a:lnTo>
                    <a:lnTo>
                      <a:pt x="2" y="110"/>
                    </a:lnTo>
                    <a:lnTo>
                      <a:pt x="2" y="110"/>
                    </a:lnTo>
                    <a:lnTo>
                      <a:pt x="4" y="11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8" name="Freeform 2960"/>
              <p:cNvSpPr>
                <a:spLocks/>
              </p:cNvSpPr>
              <p:nvPr/>
            </p:nvSpPr>
            <p:spPr bwMode="auto">
              <a:xfrm>
                <a:off x="6936580" y="2606133"/>
                <a:ext cx="2571" cy="2571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9" name="Rectangle 2961"/>
              <p:cNvSpPr>
                <a:spLocks noChangeArrowheads="1"/>
              </p:cNvSpPr>
              <p:nvPr/>
            </p:nvSpPr>
            <p:spPr bwMode="auto">
              <a:xfrm>
                <a:off x="7507340" y="2639556"/>
                <a:ext cx="2571" cy="2571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0" name="Rectangle 2962"/>
              <p:cNvSpPr>
                <a:spLocks noChangeArrowheads="1"/>
              </p:cNvSpPr>
              <p:nvPr/>
            </p:nvSpPr>
            <p:spPr bwMode="auto">
              <a:xfrm>
                <a:off x="7342796" y="2464729"/>
                <a:ext cx="1286" cy="1286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1" name="Freeform 2963"/>
              <p:cNvSpPr>
                <a:spLocks/>
              </p:cNvSpPr>
              <p:nvPr/>
            </p:nvSpPr>
            <p:spPr bwMode="auto">
              <a:xfrm>
                <a:off x="7345367" y="2469871"/>
                <a:ext cx="161972" cy="2082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58" y="162"/>
                  </a:cxn>
                  <a:cxn ang="0">
                    <a:pos x="126" y="134"/>
                  </a:cxn>
                  <a:cxn ang="0">
                    <a:pos x="126" y="132"/>
                  </a:cxn>
                  <a:cxn ang="0">
                    <a:pos x="62" y="158"/>
                  </a:cxn>
                  <a:cxn ang="0">
                    <a:pos x="0" y="0"/>
                  </a:cxn>
                </a:cxnLst>
                <a:rect l="0" t="0" r="r" b="b"/>
                <a:pathLst>
                  <a:path w="126" h="162">
                    <a:moveTo>
                      <a:pt x="0" y="0"/>
                    </a:moveTo>
                    <a:lnTo>
                      <a:pt x="0" y="0"/>
                    </a:lnTo>
                    <a:lnTo>
                      <a:pt x="58" y="162"/>
                    </a:lnTo>
                    <a:lnTo>
                      <a:pt x="126" y="134"/>
                    </a:lnTo>
                    <a:lnTo>
                      <a:pt x="126" y="132"/>
                    </a:lnTo>
                    <a:lnTo>
                      <a:pt x="62" y="15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2" name="Freeform 2964"/>
              <p:cNvSpPr>
                <a:spLocks/>
              </p:cNvSpPr>
              <p:nvPr/>
            </p:nvSpPr>
            <p:spPr bwMode="auto">
              <a:xfrm>
                <a:off x="7342796" y="2464729"/>
                <a:ext cx="2571" cy="5142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4"/>
                  </a:cxn>
                  <a:cxn ang="0">
                    <a:pos x="2" y="4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3" name="Freeform 2965"/>
              <p:cNvSpPr>
                <a:spLocks/>
              </p:cNvSpPr>
              <p:nvPr/>
            </p:nvSpPr>
            <p:spPr bwMode="auto">
              <a:xfrm>
                <a:off x="7774723" y="1999380"/>
                <a:ext cx="2571" cy="5142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4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4" name="Freeform 2966"/>
              <p:cNvSpPr>
                <a:spLocks/>
              </p:cNvSpPr>
              <p:nvPr/>
            </p:nvSpPr>
            <p:spPr bwMode="auto">
              <a:xfrm>
                <a:off x="7695022" y="2148497"/>
                <a:ext cx="5142" cy="7713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2" y="6"/>
                  </a:cxn>
                  <a:cxn ang="0">
                    <a:pos x="4" y="4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6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2" y="6"/>
                    </a:lnTo>
                    <a:lnTo>
                      <a:pt x="4" y="4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5" name="Freeform 2967"/>
              <p:cNvSpPr>
                <a:spLocks/>
              </p:cNvSpPr>
              <p:nvPr/>
            </p:nvSpPr>
            <p:spPr bwMode="auto">
              <a:xfrm>
                <a:off x="7484201" y="2035373"/>
                <a:ext cx="79701" cy="17482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" y="84"/>
                  </a:cxn>
                  <a:cxn ang="0">
                    <a:pos x="62" y="136"/>
                  </a:cxn>
                  <a:cxn ang="0">
                    <a:pos x="12" y="82"/>
                  </a:cxn>
                  <a:cxn ang="0">
                    <a:pos x="0" y="0"/>
                  </a:cxn>
                </a:cxnLst>
                <a:rect l="0" t="0" r="r" b="b"/>
                <a:pathLst>
                  <a:path w="62" h="136">
                    <a:moveTo>
                      <a:pt x="0" y="0"/>
                    </a:moveTo>
                    <a:lnTo>
                      <a:pt x="10" y="84"/>
                    </a:lnTo>
                    <a:lnTo>
                      <a:pt x="62" y="136"/>
                    </a:lnTo>
                    <a:lnTo>
                      <a:pt x="12" y="8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6" name="Freeform 2968"/>
              <p:cNvSpPr>
                <a:spLocks/>
              </p:cNvSpPr>
              <p:nvPr/>
            </p:nvSpPr>
            <p:spPr bwMode="auto">
              <a:xfrm>
                <a:off x="7353080" y="1575166"/>
                <a:ext cx="131121" cy="460207"/>
              </a:xfrm>
              <a:custGeom>
                <a:avLst/>
                <a:gdLst/>
                <a:ahLst/>
                <a:cxnLst>
                  <a:cxn ang="0">
                    <a:pos x="40" y="1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38" y="132"/>
                  </a:cxn>
                  <a:cxn ang="0">
                    <a:pos x="102" y="358"/>
                  </a:cxn>
                  <a:cxn ang="0">
                    <a:pos x="80" y="276"/>
                  </a:cxn>
                  <a:cxn ang="0">
                    <a:pos x="40" y="132"/>
                  </a:cxn>
                </a:cxnLst>
                <a:rect l="0" t="0" r="r" b="b"/>
                <a:pathLst>
                  <a:path w="102" h="358">
                    <a:moveTo>
                      <a:pt x="40" y="13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38" y="132"/>
                    </a:lnTo>
                    <a:lnTo>
                      <a:pt x="102" y="358"/>
                    </a:lnTo>
                    <a:lnTo>
                      <a:pt x="80" y="276"/>
                    </a:lnTo>
                    <a:lnTo>
                      <a:pt x="40" y="13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7" name="Freeform 2969"/>
              <p:cNvSpPr>
                <a:spLocks/>
              </p:cNvSpPr>
              <p:nvPr/>
            </p:nvSpPr>
            <p:spPr bwMode="auto">
              <a:xfrm>
                <a:off x="7659028" y="1945389"/>
                <a:ext cx="115695" cy="20825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28" y="162"/>
                  </a:cxn>
                  <a:cxn ang="0">
                    <a:pos x="30" y="158"/>
                  </a:cxn>
                  <a:cxn ang="0">
                    <a:pos x="4" y="20"/>
                  </a:cxn>
                  <a:cxn ang="0">
                    <a:pos x="54" y="2"/>
                  </a:cxn>
                  <a:cxn ang="0">
                    <a:pos x="90" y="42"/>
                  </a:cxn>
                  <a:cxn ang="0">
                    <a:pos x="90" y="42"/>
                  </a:cxn>
                  <a:cxn ang="0">
                    <a:pos x="54" y="0"/>
                  </a:cxn>
                  <a:cxn ang="0">
                    <a:pos x="0" y="20"/>
                  </a:cxn>
                </a:cxnLst>
                <a:rect l="0" t="0" r="r" b="b"/>
                <a:pathLst>
                  <a:path w="90" h="162">
                    <a:moveTo>
                      <a:pt x="0" y="20"/>
                    </a:moveTo>
                    <a:lnTo>
                      <a:pt x="28" y="162"/>
                    </a:lnTo>
                    <a:lnTo>
                      <a:pt x="30" y="158"/>
                    </a:lnTo>
                    <a:lnTo>
                      <a:pt x="4" y="20"/>
                    </a:lnTo>
                    <a:lnTo>
                      <a:pt x="54" y="2"/>
                    </a:lnTo>
                    <a:lnTo>
                      <a:pt x="90" y="42"/>
                    </a:lnTo>
                    <a:lnTo>
                      <a:pt x="90" y="42"/>
                    </a:lnTo>
                    <a:lnTo>
                      <a:pt x="54" y="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8" name="Rectangle 2970"/>
              <p:cNvSpPr>
                <a:spLocks noChangeArrowheads="1"/>
              </p:cNvSpPr>
              <p:nvPr/>
            </p:nvSpPr>
            <p:spPr bwMode="auto">
              <a:xfrm>
                <a:off x="7697593" y="2156210"/>
                <a:ext cx="1286" cy="1286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9" name="Freeform 2971"/>
              <p:cNvSpPr>
                <a:spLocks/>
              </p:cNvSpPr>
              <p:nvPr/>
            </p:nvSpPr>
            <p:spPr bwMode="auto">
              <a:xfrm>
                <a:off x="7525337" y="1472326"/>
                <a:ext cx="213392" cy="31880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126" y="220"/>
                  </a:cxn>
                  <a:cxn ang="0">
                    <a:pos x="166" y="248"/>
                  </a:cxn>
                  <a:cxn ang="0">
                    <a:pos x="166" y="246"/>
                  </a:cxn>
                  <a:cxn ang="0">
                    <a:pos x="126" y="218"/>
                  </a:cxn>
                  <a:cxn ang="0">
                    <a:pos x="0" y="0"/>
                  </a:cxn>
                </a:cxnLst>
                <a:rect l="0" t="0" r="r" b="b"/>
                <a:pathLst>
                  <a:path w="166" h="248">
                    <a:moveTo>
                      <a:pt x="0" y="0"/>
                    </a:moveTo>
                    <a:lnTo>
                      <a:pt x="0" y="2"/>
                    </a:lnTo>
                    <a:lnTo>
                      <a:pt x="126" y="220"/>
                    </a:lnTo>
                    <a:lnTo>
                      <a:pt x="166" y="248"/>
                    </a:lnTo>
                    <a:lnTo>
                      <a:pt x="166" y="246"/>
                    </a:lnTo>
                    <a:lnTo>
                      <a:pt x="126" y="21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0" name="Freeform 2972"/>
              <p:cNvSpPr>
                <a:spLocks/>
              </p:cNvSpPr>
              <p:nvPr/>
            </p:nvSpPr>
            <p:spPr bwMode="auto">
              <a:xfrm>
                <a:off x="2802426" y="1338635"/>
                <a:ext cx="82272" cy="439639"/>
              </a:xfrm>
              <a:custGeom>
                <a:avLst/>
                <a:gdLst/>
                <a:ahLst/>
                <a:cxnLst>
                  <a:cxn ang="0">
                    <a:pos x="0" y="342"/>
                  </a:cxn>
                  <a:cxn ang="0">
                    <a:pos x="64" y="0"/>
                  </a:cxn>
                  <a:cxn ang="0">
                    <a:pos x="60" y="0"/>
                  </a:cxn>
                  <a:cxn ang="0">
                    <a:pos x="0" y="342"/>
                  </a:cxn>
                </a:cxnLst>
                <a:rect l="0" t="0" r="r" b="b"/>
                <a:pathLst>
                  <a:path w="64" h="342">
                    <a:moveTo>
                      <a:pt x="0" y="342"/>
                    </a:moveTo>
                    <a:lnTo>
                      <a:pt x="64" y="0"/>
                    </a:lnTo>
                    <a:lnTo>
                      <a:pt x="60" y="0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1" name="Freeform 2973"/>
              <p:cNvSpPr>
                <a:spLocks/>
              </p:cNvSpPr>
              <p:nvPr/>
            </p:nvSpPr>
            <p:spPr bwMode="auto">
              <a:xfrm>
                <a:off x="1964283" y="1611160"/>
                <a:ext cx="876708" cy="835572"/>
              </a:xfrm>
              <a:custGeom>
                <a:avLst/>
                <a:gdLst/>
                <a:ahLst/>
                <a:cxnLst>
                  <a:cxn ang="0">
                    <a:pos x="528" y="128"/>
                  </a:cxn>
                  <a:cxn ang="0">
                    <a:pos x="412" y="144"/>
                  </a:cxn>
                  <a:cxn ang="0">
                    <a:pos x="232" y="112"/>
                  </a:cxn>
                  <a:cxn ang="0">
                    <a:pos x="224" y="26"/>
                  </a:cxn>
                  <a:cxn ang="0">
                    <a:pos x="128" y="0"/>
                  </a:cxn>
                  <a:cxn ang="0">
                    <a:pos x="128" y="20"/>
                  </a:cxn>
                  <a:cxn ang="0">
                    <a:pos x="0" y="410"/>
                  </a:cxn>
                  <a:cxn ang="0">
                    <a:pos x="6" y="510"/>
                  </a:cxn>
                  <a:cxn ang="0">
                    <a:pos x="344" y="602"/>
                  </a:cxn>
                  <a:cxn ang="0">
                    <a:pos x="572" y="650"/>
                  </a:cxn>
                  <a:cxn ang="0">
                    <a:pos x="622" y="386"/>
                  </a:cxn>
                  <a:cxn ang="0">
                    <a:pos x="614" y="360"/>
                  </a:cxn>
                  <a:cxn ang="0">
                    <a:pos x="682" y="224"/>
                  </a:cxn>
                  <a:cxn ang="0">
                    <a:pos x="662" y="166"/>
                  </a:cxn>
                  <a:cxn ang="0">
                    <a:pos x="528" y="128"/>
                  </a:cxn>
                </a:cxnLst>
                <a:rect l="0" t="0" r="r" b="b"/>
                <a:pathLst>
                  <a:path w="682" h="650">
                    <a:moveTo>
                      <a:pt x="528" y="128"/>
                    </a:moveTo>
                    <a:lnTo>
                      <a:pt x="412" y="144"/>
                    </a:lnTo>
                    <a:lnTo>
                      <a:pt x="232" y="112"/>
                    </a:lnTo>
                    <a:lnTo>
                      <a:pt x="224" y="26"/>
                    </a:lnTo>
                    <a:lnTo>
                      <a:pt x="128" y="0"/>
                    </a:lnTo>
                    <a:lnTo>
                      <a:pt x="128" y="20"/>
                    </a:lnTo>
                    <a:lnTo>
                      <a:pt x="0" y="410"/>
                    </a:lnTo>
                    <a:lnTo>
                      <a:pt x="6" y="510"/>
                    </a:lnTo>
                    <a:lnTo>
                      <a:pt x="344" y="602"/>
                    </a:lnTo>
                    <a:lnTo>
                      <a:pt x="572" y="650"/>
                    </a:lnTo>
                    <a:lnTo>
                      <a:pt x="622" y="386"/>
                    </a:lnTo>
                    <a:lnTo>
                      <a:pt x="614" y="360"/>
                    </a:lnTo>
                    <a:lnTo>
                      <a:pt x="682" y="224"/>
                    </a:lnTo>
                    <a:lnTo>
                      <a:pt x="662" y="166"/>
                    </a:lnTo>
                    <a:lnTo>
                      <a:pt x="528" y="12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2" name="Freeform 2974"/>
              <p:cNvSpPr>
                <a:spLocks/>
              </p:cNvSpPr>
              <p:nvPr/>
            </p:nvSpPr>
            <p:spPr bwMode="auto">
              <a:xfrm>
                <a:off x="2128826" y="1186946"/>
                <a:ext cx="755871" cy="624751"/>
              </a:xfrm>
              <a:custGeom>
                <a:avLst/>
                <a:gdLst/>
                <a:ahLst/>
                <a:cxnLst>
                  <a:cxn ang="0">
                    <a:pos x="198" y="12"/>
                  </a:cxn>
                  <a:cxn ang="0">
                    <a:pos x="118" y="92"/>
                  </a:cxn>
                  <a:cxn ang="0">
                    <a:pos x="0" y="0"/>
                  </a:cxn>
                  <a:cxn ang="0">
                    <a:pos x="0" y="324"/>
                  </a:cxn>
                  <a:cxn ang="0">
                    <a:pos x="100" y="352"/>
                  </a:cxn>
                  <a:cxn ang="0">
                    <a:pos x="110" y="436"/>
                  </a:cxn>
                  <a:cxn ang="0">
                    <a:pos x="284" y="468"/>
                  </a:cxn>
                  <a:cxn ang="0">
                    <a:pos x="400" y="452"/>
                  </a:cxn>
                  <a:cxn ang="0">
                    <a:pos x="532" y="486"/>
                  </a:cxn>
                  <a:cxn ang="0">
                    <a:pos x="524" y="460"/>
                  </a:cxn>
                  <a:cxn ang="0">
                    <a:pos x="584" y="118"/>
                  </a:cxn>
                  <a:cxn ang="0">
                    <a:pos x="588" y="118"/>
                  </a:cxn>
                  <a:cxn ang="0">
                    <a:pos x="588" y="116"/>
                  </a:cxn>
                  <a:cxn ang="0">
                    <a:pos x="198" y="12"/>
                  </a:cxn>
                </a:cxnLst>
                <a:rect l="0" t="0" r="r" b="b"/>
                <a:pathLst>
                  <a:path w="588" h="486">
                    <a:moveTo>
                      <a:pt x="198" y="12"/>
                    </a:moveTo>
                    <a:lnTo>
                      <a:pt x="118" y="92"/>
                    </a:lnTo>
                    <a:lnTo>
                      <a:pt x="0" y="0"/>
                    </a:lnTo>
                    <a:lnTo>
                      <a:pt x="0" y="324"/>
                    </a:lnTo>
                    <a:lnTo>
                      <a:pt x="100" y="352"/>
                    </a:lnTo>
                    <a:lnTo>
                      <a:pt x="110" y="436"/>
                    </a:lnTo>
                    <a:lnTo>
                      <a:pt x="284" y="468"/>
                    </a:lnTo>
                    <a:lnTo>
                      <a:pt x="400" y="452"/>
                    </a:lnTo>
                    <a:lnTo>
                      <a:pt x="532" y="486"/>
                    </a:lnTo>
                    <a:lnTo>
                      <a:pt x="524" y="460"/>
                    </a:lnTo>
                    <a:lnTo>
                      <a:pt x="584" y="118"/>
                    </a:lnTo>
                    <a:lnTo>
                      <a:pt x="588" y="118"/>
                    </a:lnTo>
                    <a:lnTo>
                      <a:pt x="588" y="116"/>
                    </a:lnTo>
                    <a:lnTo>
                      <a:pt x="198" y="1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3" name="Freeform 2975"/>
              <p:cNvSpPr>
                <a:spLocks/>
              </p:cNvSpPr>
              <p:nvPr/>
            </p:nvSpPr>
            <p:spPr bwMode="auto">
              <a:xfrm>
                <a:off x="2802426" y="1778274"/>
                <a:ext cx="10284" cy="33423"/>
              </a:xfrm>
              <a:custGeom>
                <a:avLst/>
                <a:gdLst/>
                <a:ahLst/>
                <a:cxnLst>
                  <a:cxn ang="0">
                    <a:pos x="8" y="26"/>
                  </a:cxn>
                  <a:cxn ang="0">
                    <a:pos x="0" y="0"/>
                  </a:cxn>
                  <a:cxn ang="0">
                    <a:pos x="8" y="26"/>
                  </a:cxn>
                  <a:cxn ang="0">
                    <a:pos x="8" y="26"/>
                  </a:cxn>
                </a:cxnLst>
                <a:rect l="0" t="0" r="r" b="b"/>
                <a:pathLst>
                  <a:path w="8" h="26">
                    <a:moveTo>
                      <a:pt x="8" y="26"/>
                    </a:moveTo>
                    <a:lnTo>
                      <a:pt x="0" y="0"/>
                    </a:lnTo>
                    <a:lnTo>
                      <a:pt x="8" y="26"/>
                    </a:lnTo>
                    <a:lnTo>
                      <a:pt x="8" y="2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4" name="Freeform 2979"/>
              <p:cNvSpPr>
                <a:spLocks/>
              </p:cNvSpPr>
              <p:nvPr/>
            </p:nvSpPr>
            <p:spPr bwMode="auto">
              <a:xfrm>
                <a:off x="3036386" y="1783416"/>
                <a:ext cx="233960" cy="380507"/>
              </a:xfrm>
              <a:custGeom>
                <a:avLst/>
                <a:gdLst/>
                <a:ahLst/>
                <a:cxnLst>
                  <a:cxn ang="0">
                    <a:pos x="50" y="126"/>
                  </a:cxn>
                  <a:cxn ang="0">
                    <a:pos x="40" y="188"/>
                  </a:cxn>
                  <a:cxn ang="0">
                    <a:pos x="112" y="296"/>
                  </a:cxn>
                  <a:cxn ang="0">
                    <a:pos x="182" y="284"/>
                  </a:cxn>
                  <a:cxn ang="0">
                    <a:pos x="118" y="292"/>
                  </a:cxn>
                  <a:cxn ang="0">
                    <a:pos x="48" y="188"/>
                  </a:cxn>
                  <a:cxn ang="0">
                    <a:pos x="56" y="118"/>
                  </a:cxn>
                  <a:cxn ang="0">
                    <a:pos x="8" y="130"/>
                  </a:cxn>
                  <a:cxn ang="0">
                    <a:pos x="38" y="0"/>
                  </a:cxn>
                  <a:cxn ang="0">
                    <a:pos x="0" y="138"/>
                  </a:cxn>
                  <a:cxn ang="0">
                    <a:pos x="50" y="126"/>
                  </a:cxn>
                </a:cxnLst>
                <a:rect l="0" t="0" r="r" b="b"/>
                <a:pathLst>
                  <a:path w="182" h="296">
                    <a:moveTo>
                      <a:pt x="50" y="126"/>
                    </a:moveTo>
                    <a:lnTo>
                      <a:pt x="40" y="188"/>
                    </a:lnTo>
                    <a:lnTo>
                      <a:pt x="112" y="296"/>
                    </a:lnTo>
                    <a:lnTo>
                      <a:pt x="182" y="284"/>
                    </a:lnTo>
                    <a:lnTo>
                      <a:pt x="118" y="292"/>
                    </a:lnTo>
                    <a:lnTo>
                      <a:pt x="48" y="188"/>
                    </a:lnTo>
                    <a:lnTo>
                      <a:pt x="56" y="118"/>
                    </a:lnTo>
                    <a:lnTo>
                      <a:pt x="8" y="130"/>
                    </a:lnTo>
                    <a:lnTo>
                      <a:pt x="38" y="0"/>
                    </a:lnTo>
                    <a:lnTo>
                      <a:pt x="0" y="138"/>
                    </a:lnTo>
                    <a:lnTo>
                      <a:pt x="50" y="12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5" name="Freeform 2980"/>
              <p:cNvSpPr>
                <a:spLocks/>
              </p:cNvSpPr>
              <p:nvPr/>
            </p:nvSpPr>
            <p:spPr bwMode="auto">
              <a:xfrm>
                <a:off x="3180362" y="2133071"/>
                <a:ext cx="167114" cy="30852"/>
              </a:xfrm>
              <a:custGeom>
                <a:avLst/>
                <a:gdLst/>
                <a:ahLst/>
                <a:cxnLst>
                  <a:cxn ang="0">
                    <a:pos x="92" y="14"/>
                  </a:cxn>
                  <a:cxn ang="0">
                    <a:pos x="130" y="0"/>
                  </a:cxn>
                  <a:cxn ang="0">
                    <a:pos x="98" y="6"/>
                  </a:cxn>
                  <a:cxn ang="0">
                    <a:pos x="90" y="8"/>
                  </a:cxn>
                  <a:cxn ang="0">
                    <a:pos x="70" y="12"/>
                  </a:cxn>
                  <a:cxn ang="0">
                    <a:pos x="0" y="24"/>
                  </a:cxn>
                  <a:cxn ang="0">
                    <a:pos x="92" y="14"/>
                  </a:cxn>
                </a:cxnLst>
                <a:rect l="0" t="0" r="r" b="b"/>
                <a:pathLst>
                  <a:path w="130" h="24">
                    <a:moveTo>
                      <a:pt x="92" y="14"/>
                    </a:moveTo>
                    <a:lnTo>
                      <a:pt x="130" y="0"/>
                    </a:lnTo>
                    <a:lnTo>
                      <a:pt x="98" y="6"/>
                    </a:lnTo>
                    <a:lnTo>
                      <a:pt x="90" y="8"/>
                    </a:lnTo>
                    <a:lnTo>
                      <a:pt x="70" y="12"/>
                    </a:lnTo>
                    <a:lnTo>
                      <a:pt x="0" y="24"/>
                    </a:lnTo>
                    <a:lnTo>
                      <a:pt x="92" y="1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6" name="Freeform 2981"/>
              <p:cNvSpPr>
                <a:spLocks/>
              </p:cNvSpPr>
              <p:nvPr/>
            </p:nvSpPr>
            <p:spPr bwMode="auto">
              <a:xfrm>
                <a:off x="3388612" y="1549456"/>
                <a:ext cx="779010" cy="611896"/>
              </a:xfrm>
              <a:custGeom>
                <a:avLst/>
                <a:gdLst/>
                <a:ahLst/>
                <a:cxnLst>
                  <a:cxn ang="0">
                    <a:pos x="600" y="452"/>
                  </a:cxn>
                  <a:cxn ang="0">
                    <a:pos x="6" y="414"/>
                  </a:cxn>
                  <a:cxn ang="0">
                    <a:pos x="0" y="476"/>
                  </a:cxn>
                  <a:cxn ang="0">
                    <a:pos x="12" y="420"/>
                  </a:cxn>
                  <a:cxn ang="0">
                    <a:pos x="606" y="460"/>
                  </a:cxn>
                  <a:cxn ang="0">
                    <a:pos x="604" y="0"/>
                  </a:cxn>
                  <a:cxn ang="0">
                    <a:pos x="600" y="452"/>
                  </a:cxn>
                </a:cxnLst>
                <a:rect l="0" t="0" r="r" b="b"/>
                <a:pathLst>
                  <a:path w="606" h="476">
                    <a:moveTo>
                      <a:pt x="600" y="452"/>
                    </a:moveTo>
                    <a:lnTo>
                      <a:pt x="6" y="414"/>
                    </a:lnTo>
                    <a:lnTo>
                      <a:pt x="0" y="476"/>
                    </a:lnTo>
                    <a:lnTo>
                      <a:pt x="12" y="420"/>
                    </a:lnTo>
                    <a:lnTo>
                      <a:pt x="606" y="460"/>
                    </a:lnTo>
                    <a:lnTo>
                      <a:pt x="604" y="0"/>
                    </a:lnTo>
                    <a:lnTo>
                      <a:pt x="600" y="45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7" name="Freeform 2982"/>
              <p:cNvSpPr>
                <a:spLocks/>
              </p:cNvSpPr>
              <p:nvPr/>
            </p:nvSpPr>
            <p:spPr bwMode="auto">
              <a:xfrm>
                <a:off x="4165051" y="1549456"/>
                <a:ext cx="789294" cy="591328"/>
              </a:xfrm>
              <a:custGeom>
                <a:avLst/>
                <a:gdLst/>
                <a:ahLst/>
                <a:cxnLst>
                  <a:cxn ang="0">
                    <a:pos x="612" y="358"/>
                  </a:cxn>
                  <a:cxn ang="0">
                    <a:pos x="614" y="354"/>
                  </a:cxn>
                  <a:cxn ang="0">
                    <a:pos x="2" y="356"/>
                  </a:cxn>
                  <a:cxn ang="0">
                    <a:pos x="6" y="2"/>
                  </a:cxn>
                  <a:cxn ang="0">
                    <a:pos x="0" y="0"/>
                  </a:cxn>
                  <a:cxn ang="0">
                    <a:pos x="2" y="460"/>
                  </a:cxn>
                  <a:cxn ang="0">
                    <a:pos x="2" y="360"/>
                  </a:cxn>
                  <a:cxn ang="0">
                    <a:pos x="612" y="358"/>
                  </a:cxn>
                </a:cxnLst>
                <a:rect l="0" t="0" r="r" b="b"/>
                <a:pathLst>
                  <a:path w="614" h="460">
                    <a:moveTo>
                      <a:pt x="612" y="358"/>
                    </a:moveTo>
                    <a:lnTo>
                      <a:pt x="614" y="354"/>
                    </a:lnTo>
                    <a:lnTo>
                      <a:pt x="2" y="356"/>
                    </a:lnTo>
                    <a:lnTo>
                      <a:pt x="6" y="2"/>
                    </a:lnTo>
                    <a:lnTo>
                      <a:pt x="0" y="0"/>
                    </a:lnTo>
                    <a:lnTo>
                      <a:pt x="2" y="460"/>
                    </a:lnTo>
                    <a:lnTo>
                      <a:pt x="2" y="360"/>
                    </a:lnTo>
                    <a:lnTo>
                      <a:pt x="612" y="35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8" name="Freeform 2983"/>
              <p:cNvSpPr>
                <a:spLocks/>
              </p:cNvSpPr>
              <p:nvPr/>
            </p:nvSpPr>
            <p:spPr bwMode="auto">
              <a:xfrm>
                <a:off x="3306340" y="2127929"/>
                <a:ext cx="79701" cy="53991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2" y="4"/>
                  </a:cxn>
                  <a:cxn ang="0">
                    <a:pos x="60" y="42"/>
                  </a:cxn>
                  <a:cxn ang="0">
                    <a:pos x="62" y="34"/>
                  </a:cxn>
                  <a:cxn ang="0">
                    <a:pos x="36" y="0"/>
                  </a:cxn>
                  <a:cxn ang="0">
                    <a:pos x="0" y="10"/>
                  </a:cxn>
                </a:cxnLst>
                <a:rect l="0" t="0" r="r" b="b"/>
                <a:pathLst>
                  <a:path w="62" h="42">
                    <a:moveTo>
                      <a:pt x="0" y="10"/>
                    </a:moveTo>
                    <a:lnTo>
                      <a:pt x="32" y="4"/>
                    </a:lnTo>
                    <a:lnTo>
                      <a:pt x="60" y="42"/>
                    </a:lnTo>
                    <a:lnTo>
                      <a:pt x="62" y="34"/>
                    </a:lnTo>
                    <a:lnTo>
                      <a:pt x="36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9" name="Freeform 2984"/>
              <p:cNvSpPr>
                <a:spLocks/>
              </p:cNvSpPr>
              <p:nvPr/>
            </p:nvSpPr>
            <p:spPr bwMode="auto">
              <a:xfrm>
                <a:off x="3386041" y="2161352"/>
                <a:ext cx="2571" cy="12855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2" y="0"/>
                  </a:cxn>
                  <a:cxn ang="0">
                    <a:pos x="0" y="8"/>
                  </a:cxn>
                  <a:cxn ang="0">
                    <a:pos x="0" y="10"/>
                  </a:cxn>
                </a:cxnLst>
                <a:rect l="0" t="0" r="r" b="b"/>
                <a:pathLst>
                  <a:path w="2" h="10">
                    <a:moveTo>
                      <a:pt x="0" y="1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0" name="Freeform 2985"/>
              <p:cNvSpPr>
                <a:spLocks/>
              </p:cNvSpPr>
              <p:nvPr/>
            </p:nvSpPr>
            <p:spPr bwMode="auto">
              <a:xfrm>
                <a:off x="3270346" y="2140784"/>
                <a:ext cx="35994" cy="7713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0" y="6"/>
                  </a:cxn>
                  <a:cxn ang="0">
                    <a:pos x="20" y="2"/>
                  </a:cxn>
                  <a:cxn ang="0">
                    <a:pos x="28" y="0"/>
                  </a:cxn>
                </a:cxnLst>
                <a:rect l="0" t="0" r="r" b="b"/>
                <a:pathLst>
                  <a:path w="28" h="6">
                    <a:moveTo>
                      <a:pt x="28" y="0"/>
                    </a:moveTo>
                    <a:lnTo>
                      <a:pt x="0" y="6"/>
                    </a:lnTo>
                    <a:lnTo>
                      <a:pt x="20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1" name="Freeform 2986"/>
              <p:cNvSpPr>
                <a:spLocks/>
              </p:cNvSpPr>
              <p:nvPr/>
            </p:nvSpPr>
            <p:spPr bwMode="auto">
              <a:xfrm>
                <a:off x="2709870" y="1336064"/>
                <a:ext cx="673600" cy="1241789"/>
              </a:xfrm>
              <a:custGeom>
                <a:avLst/>
                <a:gdLst/>
                <a:ahLst/>
                <a:cxnLst>
                  <a:cxn ang="0">
                    <a:pos x="458" y="634"/>
                  </a:cxn>
                  <a:cxn ang="0">
                    <a:pos x="366" y="644"/>
                  </a:cxn>
                  <a:cxn ang="0">
                    <a:pos x="294" y="536"/>
                  </a:cxn>
                  <a:cxn ang="0">
                    <a:pos x="304" y="474"/>
                  </a:cxn>
                  <a:cxn ang="0">
                    <a:pos x="254" y="486"/>
                  </a:cxn>
                  <a:cxn ang="0">
                    <a:pos x="284" y="348"/>
                  </a:cxn>
                  <a:cxn ang="0">
                    <a:pos x="256" y="334"/>
                  </a:cxn>
                  <a:cxn ang="0">
                    <a:pos x="184" y="168"/>
                  </a:cxn>
                  <a:cxn ang="0">
                    <a:pos x="210" y="24"/>
                  </a:cxn>
                  <a:cxn ang="0">
                    <a:pos x="212" y="26"/>
                  </a:cxn>
                  <a:cxn ang="0">
                    <a:pos x="214" y="22"/>
                  </a:cxn>
                  <a:cxn ang="0">
                    <a:pos x="136" y="0"/>
                  </a:cxn>
                  <a:cxn ang="0">
                    <a:pos x="136" y="2"/>
                  </a:cxn>
                  <a:cxn ang="0">
                    <a:pos x="140" y="4"/>
                  </a:cxn>
                  <a:cxn ang="0">
                    <a:pos x="78" y="344"/>
                  </a:cxn>
                  <a:cxn ang="0">
                    <a:pos x="108" y="438"/>
                  </a:cxn>
                  <a:cxn ang="0">
                    <a:pos x="40" y="574"/>
                  </a:cxn>
                  <a:cxn ang="0">
                    <a:pos x="50" y="600"/>
                  </a:cxn>
                  <a:cxn ang="0">
                    <a:pos x="0" y="866"/>
                  </a:cxn>
                  <a:cxn ang="0">
                    <a:pos x="496" y="966"/>
                  </a:cxn>
                  <a:cxn ang="0">
                    <a:pos x="524" y="658"/>
                  </a:cxn>
                  <a:cxn ang="0">
                    <a:pos x="496" y="620"/>
                  </a:cxn>
                  <a:cxn ang="0">
                    <a:pos x="458" y="634"/>
                  </a:cxn>
                </a:cxnLst>
                <a:rect l="0" t="0" r="r" b="b"/>
                <a:pathLst>
                  <a:path w="524" h="966">
                    <a:moveTo>
                      <a:pt x="458" y="634"/>
                    </a:moveTo>
                    <a:lnTo>
                      <a:pt x="366" y="644"/>
                    </a:lnTo>
                    <a:lnTo>
                      <a:pt x="294" y="536"/>
                    </a:lnTo>
                    <a:lnTo>
                      <a:pt x="304" y="474"/>
                    </a:lnTo>
                    <a:lnTo>
                      <a:pt x="254" y="486"/>
                    </a:lnTo>
                    <a:lnTo>
                      <a:pt x="284" y="348"/>
                    </a:lnTo>
                    <a:lnTo>
                      <a:pt x="256" y="334"/>
                    </a:lnTo>
                    <a:lnTo>
                      <a:pt x="184" y="168"/>
                    </a:lnTo>
                    <a:lnTo>
                      <a:pt x="210" y="24"/>
                    </a:lnTo>
                    <a:lnTo>
                      <a:pt x="212" y="26"/>
                    </a:lnTo>
                    <a:lnTo>
                      <a:pt x="214" y="22"/>
                    </a:lnTo>
                    <a:lnTo>
                      <a:pt x="136" y="0"/>
                    </a:lnTo>
                    <a:lnTo>
                      <a:pt x="136" y="2"/>
                    </a:lnTo>
                    <a:lnTo>
                      <a:pt x="140" y="4"/>
                    </a:lnTo>
                    <a:lnTo>
                      <a:pt x="78" y="344"/>
                    </a:lnTo>
                    <a:lnTo>
                      <a:pt x="108" y="438"/>
                    </a:lnTo>
                    <a:lnTo>
                      <a:pt x="40" y="574"/>
                    </a:lnTo>
                    <a:lnTo>
                      <a:pt x="50" y="600"/>
                    </a:lnTo>
                    <a:lnTo>
                      <a:pt x="0" y="866"/>
                    </a:lnTo>
                    <a:lnTo>
                      <a:pt x="496" y="966"/>
                    </a:lnTo>
                    <a:lnTo>
                      <a:pt x="524" y="658"/>
                    </a:lnTo>
                    <a:lnTo>
                      <a:pt x="496" y="620"/>
                    </a:lnTo>
                    <a:lnTo>
                      <a:pt x="458" y="63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2" name="Freeform 2987"/>
              <p:cNvSpPr>
                <a:spLocks/>
              </p:cNvSpPr>
              <p:nvPr/>
            </p:nvSpPr>
            <p:spPr bwMode="auto">
              <a:xfrm>
                <a:off x="4982627" y="2508436"/>
                <a:ext cx="151688" cy="408788"/>
              </a:xfrm>
              <a:custGeom>
                <a:avLst/>
                <a:gdLst/>
                <a:ahLst/>
                <a:cxnLst>
                  <a:cxn ang="0">
                    <a:pos x="94" y="254"/>
                  </a:cxn>
                  <a:cxn ang="0">
                    <a:pos x="94" y="256"/>
                  </a:cxn>
                  <a:cxn ang="0">
                    <a:pos x="96" y="256"/>
                  </a:cxn>
                  <a:cxn ang="0">
                    <a:pos x="118" y="318"/>
                  </a:cxn>
                  <a:cxn ang="0">
                    <a:pos x="0" y="0"/>
                  </a:cxn>
                  <a:cxn ang="0">
                    <a:pos x="94" y="254"/>
                  </a:cxn>
                  <a:cxn ang="0">
                    <a:pos x="94" y="254"/>
                  </a:cxn>
                </a:cxnLst>
                <a:rect l="0" t="0" r="r" b="b"/>
                <a:pathLst>
                  <a:path w="118" h="318">
                    <a:moveTo>
                      <a:pt x="94" y="254"/>
                    </a:moveTo>
                    <a:lnTo>
                      <a:pt x="94" y="256"/>
                    </a:lnTo>
                    <a:lnTo>
                      <a:pt x="96" y="256"/>
                    </a:lnTo>
                    <a:lnTo>
                      <a:pt x="118" y="318"/>
                    </a:lnTo>
                    <a:lnTo>
                      <a:pt x="0" y="0"/>
                    </a:lnTo>
                    <a:lnTo>
                      <a:pt x="94" y="254"/>
                    </a:lnTo>
                    <a:lnTo>
                      <a:pt x="94" y="25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3" name="Freeform 2988"/>
              <p:cNvSpPr>
                <a:spLocks/>
              </p:cNvSpPr>
              <p:nvPr/>
            </p:nvSpPr>
            <p:spPr bwMode="auto">
              <a:xfrm>
                <a:off x="4969772" y="2089364"/>
                <a:ext cx="12855" cy="419072"/>
              </a:xfrm>
              <a:custGeom>
                <a:avLst/>
                <a:gdLst/>
                <a:ahLst/>
                <a:cxnLst>
                  <a:cxn ang="0">
                    <a:pos x="6" y="188"/>
                  </a:cxn>
                  <a:cxn ang="0">
                    <a:pos x="6" y="188"/>
                  </a:cxn>
                  <a:cxn ang="0">
                    <a:pos x="10" y="326"/>
                  </a:cxn>
                  <a:cxn ang="0">
                    <a:pos x="0" y="0"/>
                  </a:cxn>
                  <a:cxn ang="0">
                    <a:pos x="6" y="186"/>
                  </a:cxn>
                  <a:cxn ang="0">
                    <a:pos x="6" y="188"/>
                  </a:cxn>
                </a:cxnLst>
                <a:rect l="0" t="0" r="r" b="b"/>
                <a:pathLst>
                  <a:path w="10" h="326">
                    <a:moveTo>
                      <a:pt x="6" y="188"/>
                    </a:moveTo>
                    <a:lnTo>
                      <a:pt x="6" y="188"/>
                    </a:lnTo>
                    <a:lnTo>
                      <a:pt x="10" y="326"/>
                    </a:lnTo>
                    <a:lnTo>
                      <a:pt x="0" y="0"/>
                    </a:lnTo>
                    <a:lnTo>
                      <a:pt x="6" y="186"/>
                    </a:lnTo>
                    <a:lnTo>
                      <a:pt x="6" y="18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4" name="Freeform 2989"/>
              <p:cNvSpPr>
                <a:spLocks/>
              </p:cNvSpPr>
              <p:nvPr/>
            </p:nvSpPr>
            <p:spPr bwMode="auto">
              <a:xfrm>
                <a:off x="4159909" y="1552027"/>
                <a:ext cx="833001" cy="1249502"/>
              </a:xfrm>
              <a:custGeom>
                <a:avLst/>
                <a:gdLst/>
                <a:ahLst/>
                <a:cxnLst>
                  <a:cxn ang="0">
                    <a:pos x="478" y="708"/>
                  </a:cxn>
                  <a:cxn ang="0">
                    <a:pos x="648" y="766"/>
                  </a:cxn>
                  <a:cxn ang="0">
                    <a:pos x="646" y="758"/>
                  </a:cxn>
                  <a:cxn ang="0">
                    <a:pos x="478" y="704"/>
                  </a:cxn>
                  <a:cxn ang="0">
                    <a:pos x="4" y="706"/>
                  </a:cxn>
                  <a:cxn ang="0">
                    <a:pos x="8" y="458"/>
                  </a:cxn>
                  <a:cxn ang="0">
                    <a:pos x="6" y="458"/>
                  </a:cxn>
                  <a:cxn ang="0">
                    <a:pos x="6" y="358"/>
                  </a:cxn>
                  <a:cxn ang="0">
                    <a:pos x="616" y="356"/>
                  </a:cxn>
                  <a:cxn ang="0">
                    <a:pos x="618" y="352"/>
                  </a:cxn>
                  <a:cxn ang="0">
                    <a:pos x="6" y="354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0" y="972"/>
                  </a:cxn>
                  <a:cxn ang="0">
                    <a:pos x="4" y="710"/>
                  </a:cxn>
                  <a:cxn ang="0">
                    <a:pos x="478" y="708"/>
                  </a:cxn>
                </a:cxnLst>
                <a:rect l="0" t="0" r="r" b="b"/>
                <a:pathLst>
                  <a:path w="648" h="972">
                    <a:moveTo>
                      <a:pt x="478" y="708"/>
                    </a:moveTo>
                    <a:lnTo>
                      <a:pt x="648" y="766"/>
                    </a:lnTo>
                    <a:lnTo>
                      <a:pt x="646" y="758"/>
                    </a:lnTo>
                    <a:lnTo>
                      <a:pt x="478" y="704"/>
                    </a:lnTo>
                    <a:lnTo>
                      <a:pt x="4" y="706"/>
                    </a:lnTo>
                    <a:lnTo>
                      <a:pt x="8" y="458"/>
                    </a:lnTo>
                    <a:lnTo>
                      <a:pt x="6" y="458"/>
                    </a:lnTo>
                    <a:lnTo>
                      <a:pt x="6" y="358"/>
                    </a:lnTo>
                    <a:lnTo>
                      <a:pt x="616" y="356"/>
                    </a:lnTo>
                    <a:lnTo>
                      <a:pt x="618" y="352"/>
                    </a:lnTo>
                    <a:lnTo>
                      <a:pt x="6" y="354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0" y="972"/>
                    </a:lnTo>
                    <a:lnTo>
                      <a:pt x="4" y="710"/>
                    </a:lnTo>
                    <a:lnTo>
                      <a:pt x="478" y="70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5" name="Freeform 2990"/>
              <p:cNvSpPr>
                <a:spLocks/>
              </p:cNvSpPr>
              <p:nvPr/>
            </p:nvSpPr>
            <p:spPr bwMode="auto">
              <a:xfrm>
                <a:off x="4370731" y="2917223"/>
                <a:ext cx="773868" cy="10284"/>
              </a:xfrm>
              <a:custGeom>
                <a:avLst/>
                <a:gdLst/>
                <a:ahLst/>
                <a:cxnLst>
                  <a:cxn ang="0">
                    <a:pos x="602" y="6"/>
                  </a:cxn>
                  <a:cxn ang="0">
                    <a:pos x="594" y="0"/>
                  </a:cxn>
                  <a:cxn ang="0">
                    <a:pos x="0" y="8"/>
                  </a:cxn>
                  <a:cxn ang="0">
                    <a:pos x="602" y="6"/>
                  </a:cxn>
                </a:cxnLst>
                <a:rect l="0" t="0" r="r" b="b"/>
                <a:pathLst>
                  <a:path w="602" h="8">
                    <a:moveTo>
                      <a:pt x="602" y="6"/>
                    </a:moveTo>
                    <a:lnTo>
                      <a:pt x="594" y="0"/>
                    </a:lnTo>
                    <a:lnTo>
                      <a:pt x="0" y="8"/>
                    </a:lnTo>
                    <a:lnTo>
                      <a:pt x="602" y="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6" name="Freeform 2991"/>
              <p:cNvSpPr>
                <a:spLocks/>
              </p:cNvSpPr>
              <p:nvPr/>
            </p:nvSpPr>
            <p:spPr bwMode="auto">
              <a:xfrm>
                <a:off x="4861790" y="1513462"/>
                <a:ext cx="95127" cy="485917"/>
              </a:xfrm>
              <a:custGeom>
                <a:avLst/>
                <a:gdLst/>
                <a:ahLst/>
                <a:cxnLst>
                  <a:cxn ang="0">
                    <a:pos x="74" y="378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74" y="378"/>
                  </a:cxn>
                </a:cxnLst>
                <a:rect l="0" t="0" r="r" b="b"/>
                <a:pathLst>
                  <a:path w="74" h="378">
                    <a:moveTo>
                      <a:pt x="74" y="378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74" y="37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7" name="Freeform 2992"/>
              <p:cNvSpPr>
                <a:spLocks/>
              </p:cNvSpPr>
              <p:nvPr/>
            </p:nvSpPr>
            <p:spPr bwMode="auto">
              <a:xfrm>
                <a:off x="2952829" y="1361774"/>
                <a:ext cx="1213508" cy="807291"/>
              </a:xfrm>
              <a:custGeom>
                <a:avLst/>
                <a:gdLst/>
                <a:ahLst/>
                <a:cxnLst>
                  <a:cxn ang="0">
                    <a:pos x="260" y="62"/>
                  </a:cxn>
                  <a:cxn ang="0">
                    <a:pos x="22" y="0"/>
                  </a:cxn>
                  <a:cxn ang="0">
                    <a:pos x="20" y="4"/>
                  </a:cxn>
                  <a:cxn ang="0">
                    <a:pos x="24" y="4"/>
                  </a:cxn>
                  <a:cxn ang="0">
                    <a:pos x="0" y="148"/>
                  </a:cxn>
                  <a:cxn ang="0">
                    <a:pos x="66" y="306"/>
                  </a:cxn>
                  <a:cxn ang="0">
                    <a:pos x="100" y="326"/>
                  </a:cxn>
                  <a:cxn ang="0">
                    <a:pos x="70" y="456"/>
                  </a:cxn>
                  <a:cxn ang="0">
                    <a:pos x="118" y="444"/>
                  </a:cxn>
                  <a:cxn ang="0">
                    <a:pos x="110" y="514"/>
                  </a:cxn>
                  <a:cxn ang="0">
                    <a:pos x="180" y="618"/>
                  </a:cxn>
                  <a:cxn ang="0">
                    <a:pos x="244" y="610"/>
                  </a:cxn>
                  <a:cxn ang="0">
                    <a:pos x="272" y="604"/>
                  </a:cxn>
                  <a:cxn ang="0">
                    <a:pos x="308" y="594"/>
                  </a:cxn>
                  <a:cxn ang="0">
                    <a:pos x="334" y="628"/>
                  </a:cxn>
                  <a:cxn ang="0">
                    <a:pos x="336" y="620"/>
                  </a:cxn>
                  <a:cxn ang="0">
                    <a:pos x="342" y="558"/>
                  </a:cxn>
                  <a:cxn ang="0">
                    <a:pos x="936" y="596"/>
                  </a:cxn>
                  <a:cxn ang="0">
                    <a:pos x="940" y="144"/>
                  </a:cxn>
                  <a:cxn ang="0">
                    <a:pos x="944" y="146"/>
                  </a:cxn>
                  <a:cxn ang="0">
                    <a:pos x="944" y="140"/>
                  </a:cxn>
                  <a:cxn ang="0">
                    <a:pos x="260" y="62"/>
                  </a:cxn>
                </a:cxnLst>
                <a:rect l="0" t="0" r="r" b="b"/>
                <a:pathLst>
                  <a:path w="944" h="628">
                    <a:moveTo>
                      <a:pt x="260" y="62"/>
                    </a:moveTo>
                    <a:lnTo>
                      <a:pt x="22" y="0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0" y="148"/>
                    </a:lnTo>
                    <a:lnTo>
                      <a:pt x="66" y="306"/>
                    </a:lnTo>
                    <a:lnTo>
                      <a:pt x="100" y="326"/>
                    </a:lnTo>
                    <a:lnTo>
                      <a:pt x="70" y="456"/>
                    </a:lnTo>
                    <a:lnTo>
                      <a:pt x="118" y="444"/>
                    </a:lnTo>
                    <a:lnTo>
                      <a:pt x="110" y="514"/>
                    </a:lnTo>
                    <a:lnTo>
                      <a:pt x="180" y="618"/>
                    </a:lnTo>
                    <a:lnTo>
                      <a:pt x="244" y="610"/>
                    </a:lnTo>
                    <a:lnTo>
                      <a:pt x="272" y="604"/>
                    </a:lnTo>
                    <a:lnTo>
                      <a:pt x="308" y="594"/>
                    </a:lnTo>
                    <a:lnTo>
                      <a:pt x="334" y="628"/>
                    </a:lnTo>
                    <a:lnTo>
                      <a:pt x="336" y="620"/>
                    </a:lnTo>
                    <a:lnTo>
                      <a:pt x="342" y="558"/>
                    </a:lnTo>
                    <a:lnTo>
                      <a:pt x="936" y="596"/>
                    </a:lnTo>
                    <a:lnTo>
                      <a:pt x="940" y="144"/>
                    </a:lnTo>
                    <a:lnTo>
                      <a:pt x="944" y="146"/>
                    </a:lnTo>
                    <a:lnTo>
                      <a:pt x="944" y="140"/>
                    </a:lnTo>
                    <a:lnTo>
                      <a:pt x="260" y="6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8" name="Freeform 2993"/>
              <p:cNvSpPr>
                <a:spLocks/>
              </p:cNvSpPr>
              <p:nvPr/>
            </p:nvSpPr>
            <p:spPr bwMode="auto">
              <a:xfrm>
                <a:off x="4774376" y="2457016"/>
                <a:ext cx="215963" cy="719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8" y="56"/>
                  </a:cxn>
                  <a:cxn ang="0">
                    <a:pos x="168" y="54"/>
                  </a:cxn>
                  <a:cxn ang="0">
                    <a:pos x="0" y="0"/>
                  </a:cxn>
                </a:cxnLst>
                <a:rect l="0" t="0" r="r" b="b"/>
                <a:pathLst>
                  <a:path w="168" h="56">
                    <a:moveTo>
                      <a:pt x="0" y="0"/>
                    </a:moveTo>
                    <a:lnTo>
                      <a:pt x="168" y="56"/>
                    </a:lnTo>
                    <a:lnTo>
                      <a:pt x="168" y="5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9" name="Freeform 2994"/>
              <p:cNvSpPr>
                <a:spLocks/>
              </p:cNvSpPr>
              <p:nvPr/>
            </p:nvSpPr>
            <p:spPr bwMode="auto">
              <a:xfrm>
                <a:off x="4167622" y="1508320"/>
                <a:ext cx="789294" cy="498772"/>
              </a:xfrm>
              <a:custGeom>
                <a:avLst/>
                <a:gdLst/>
                <a:ahLst/>
                <a:cxnLst>
                  <a:cxn ang="0">
                    <a:pos x="614" y="382"/>
                  </a:cxn>
                  <a:cxn ang="0">
                    <a:pos x="540" y="4"/>
                  </a:cxn>
                  <a:cxn ang="0">
                    <a:pos x="542" y="4"/>
                  </a:cxn>
                  <a:cxn ang="0">
                    <a:pos x="542" y="0"/>
                  </a:cxn>
                  <a:cxn ang="0">
                    <a:pos x="26" y="32"/>
                  </a:cxn>
                  <a:cxn ang="0">
                    <a:pos x="2" y="28"/>
                  </a:cxn>
                  <a:cxn ang="0">
                    <a:pos x="2" y="34"/>
                  </a:cxn>
                  <a:cxn ang="0">
                    <a:pos x="4" y="34"/>
                  </a:cxn>
                  <a:cxn ang="0">
                    <a:pos x="0" y="388"/>
                  </a:cxn>
                  <a:cxn ang="0">
                    <a:pos x="612" y="386"/>
                  </a:cxn>
                  <a:cxn ang="0">
                    <a:pos x="610" y="388"/>
                  </a:cxn>
                  <a:cxn ang="0">
                    <a:pos x="610" y="388"/>
                  </a:cxn>
                  <a:cxn ang="0">
                    <a:pos x="614" y="382"/>
                  </a:cxn>
                </a:cxnLst>
                <a:rect l="0" t="0" r="r" b="b"/>
                <a:pathLst>
                  <a:path w="614" h="388">
                    <a:moveTo>
                      <a:pt x="614" y="382"/>
                    </a:moveTo>
                    <a:lnTo>
                      <a:pt x="540" y="4"/>
                    </a:lnTo>
                    <a:lnTo>
                      <a:pt x="542" y="4"/>
                    </a:lnTo>
                    <a:lnTo>
                      <a:pt x="542" y="0"/>
                    </a:lnTo>
                    <a:lnTo>
                      <a:pt x="26" y="32"/>
                    </a:lnTo>
                    <a:lnTo>
                      <a:pt x="2" y="28"/>
                    </a:lnTo>
                    <a:lnTo>
                      <a:pt x="2" y="34"/>
                    </a:lnTo>
                    <a:lnTo>
                      <a:pt x="4" y="34"/>
                    </a:lnTo>
                    <a:lnTo>
                      <a:pt x="0" y="388"/>
                    </a:lnTo>
                    <a:lnTo>
                      <a:pt x="612" y="386"/>
                    </a:lnTo>
                    <a:lnTo>
                      <a:pt x="610" y="388"/>
                    </a:lnTo>
                    <a:lnTo>
                      <a:pt x="610" y="388"/>
                    </a:lnTo>
                    <a:lnTo>
                      <a:pt x="614" y="38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30" name="Freeform 2995"/>
              <p:cNvSpPr>
                <a:spLocks/>
              </p:cNvSpPr>
              <p:nvPr/>
            </p:nvSpPr>
            <p:spPr bwMode="auto">
              <a:xfrm>
                <a:off x="4159909" y="2462158"/>
                <a:ext cx="974406" cy="465349"/>
              </a:xfrm>
              <a:custGeom>
                <a:avLst/>
                <a:gdLst/>
                <a:ahLst/>
                <a:cxnLst>
                  <a:cxn ang="0">
                    <a:pos x="736" y="292"/>
                  </a:cxn>
                  <a:cxn ang="0">
                    <a:pos x="734" y="292"/>
                  </a:cxn>
                  <a:cxn ang="0">
                    <a:pos x="734" y="290"/>
                  </a:cxn>
                  <a:cxn ang="0">
                    <a:pos x="734" y="290"/>
                  </a:cxn>
                  <a:cxn ang="0">
                    <a:pos x="646" y="52"/>
                  </a:cxn>
                  <a:cxn ang="0">
                    <a:pos x="646" y="52"/>
                  </a:cxn>
                  <a:cxn ang="0">
                    <a:pos x="648" y="58"/>
                  </a:cxn>
                  <a:cxn ang="0">
                    <a:pos x="478" y="0"/>
                  </a:cxn>
                  <a:cxn ang="0">
                    <a:pos x="4" y="2"/>
                  </a:cxn>
                  <a:cxn ang="0">
                    <a:pos x="0" y="264"/>
                  </a:cxn>
                  <a:cxn ang="0">
                    <a:pos x="158" y="268"/>
                  </a:cxn>
                  <a:cxn ang="0">
                    <a:pos x="164" y="362"/>
                  </a:cxn>
                  <a:cxn ang="0">
                    <a:pos x="758" y="354"/>
                  </a:cxn>
                  <a:cxn ang="0">
                    <a:pos x="736" y="292"/>
                  </a:cxn>
                </a:cxnLst>
                <a:rect l="0" t="0" r="r" b="b"/>
                <a:pathLst>
                  <a:path w="758" h="362">
                    <a:moveTo>
                      <a:pt x="736" y="292"/>
                    </a:moveTo>
                    <a:lnTo>
                      <a:pt x="734" y="292"/>
                    </a:lnTo>
                    <a:lnTo>
                      <a:pt x="734" y="290"/>
                    </a:lnTo>
                    <a:lnTo>
                      <a:pt x="734" y="290"/>
                    </a:lnTo>
                    <a:lnTo>
                      <a:pt x="646" y="52"/>
                    </a:lnTo>
                    <a:lnTo>
                      <a:pt x="646" y="52"/>
                    </a:lnTo>
                    <a:lnTo>
                      <a:pt x="648" y="58"/>
                    </a:lnTo>
                    <a:lnTo>
                      <a:pt x="478" y="0"/>
                    </a:lnTo>
                    <a:lnTo>
                      <a:pt x="4" y="2"/>
                    </a:lnTo>
                    <a:lnTo>
                      <a:pt x="0" y="264"/>
                    </a:lnTo>
                    <a:lnTo>
                      <a:pt x="158" y="268"/>
                    </a:lnTo>
                    <a:lnTo>
                      <a:pt x="164" y="362"/>
                    </a:lnTo>
                    <a:lnTo>
                      <a:pt x="758" y="354"/>
                    </a:lnTo>
                    <a:lnTo>
                      <a:pt x="736" y="29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31" name="Freeform 2996"/>
              <p:cNvSpPr>
                <a:spLocks/>
              </p:cNvSpPr>
              <p:nvPr/>
            </p:nvSpPr>
            <p:spPr bwMode="auto">
              <a:xfrm>
                <a:off x="4165051" y="2007092"/>
                <a:ext cx="825288" cy="521911"/>
              </a:xfrm>
              <a:custGeom>
                <a:avLst/>
                <a:gdLst/>
                <a:ahLst/>
                <a:cxnLst>
                  <a:cxn ang="0">
                    <a:pos x="636" y="390"/>
                  </a:cxn>
                  <a:cxn ang="0">
                    <a:pos x="632" y="252"/>
                  </a:cxn>
                  <a:cxn ang="0">
                    <a:pos x="632" y="252"/>
                  </a:cxn>
                  <a:cxn ang="0">
                    <a:pos x="632" y="250"/>
                  </a:cxn>
                  <a:cxn ang="0">
                    <a:pos x="626" y="64"/>
                  </a:cxn>
                  <a:cxn ang="0">
                    <a:pos x="596" y="26"/>
                  </a:cxn>
                  <a:cxn ang="0">
                    <a:pos x="612" y="0"/>
                  </a:cxn>
                  <a:cxn ang="0">
                    <a:pos x="612" y="0"/>
                  </a:cxn>
                  <a:cxn ang="0">
                    <a:pos x="612" y="2"/>
                  </a:cxn>
                  <a:cxn ang="0">
                    <a:pos x="2" y="4"/>
                  </a:cxn>
                  <a:cxn ang="0">
                    <a:pos x="2" y="104"/>
                  </a:cxn>
                  <a:cxn ang="0">
                    <a:pos x="4" y="104"/>
                  </a:cxn>
                  <a:cxn ang="0">
                    <a:pos x="0" y="352"/>
                  </a:cxn>
                  <a:cxn ang="0">
                    <a:pos x="474" y="350"/>
                  </a:cxn>
                  <a:cxn ang="0">
                    <a:pos x="642" y="404"/>
                  </a:cxn>
                  <a:cxn ang="0">
                    <a:pos x="642" y="406"/>
                  </a:cxn>
                  <a:cxn ang="0">
                    <a:pos x="642" y="406"/>
                  </a:cxn>
                  <a:cxn ang="0">
                    <a:pos x="636" y="390"/>
                  </a:cxn>
                </a:cxnLst>
                <a:rect l="0" t="0" r="r" b="b"/>
                <a:pathLst>
                  <a:path w="642" h="406">
                    <a:moveTo>
                      <a:pt x="636" y="390"/>
                    </a:moveTo>
                    <a:lnTo>
                      <a:pt x="632" y="252"/>
                    </a:lnTo>
                    <a:lnTo>
                      <a:pt x="632" y="252"/>
                    </a:lnTo>
                    <a:lnTo>
                      <a:pt x="632" y="250"/>
                    </a:lnTo>
                    <a:lnTo>
                      <a:pt x="626" y="64"/>
                    </a:lnTo>
                    <a:lnTo>
                      <a:pt x="596" y="26"/>
                    </a:lnTo>
                    <a:lnTo>
                      <a:pt x="612" y="0"/>
                    </a:lnTo>
                    <a:lnTo>
                      <a:pt x="612" y="0"/>
                    </a:lnTo>
                    <a:lnTo>
                      <a:pt x="612" y="2"/>
                    </a:lnTo>
                    <a:lnTo>
                      <a:pt x="2" y="4"/>
                    </a:lnTo>
                    <a:lnTo>
                      <a:pt x="2" y="104"/>
                    </a:lnTo>
                    <a:lnTo>
                      <a:pt x="4" y="104"/>
                    </a:lnTo>
                    <a:lnTo>
                      <a:pt x="0" y="352"/>
                    </a:lnTo>
                    <a:lnTo>
                      <a:pt x="474" y="350"/>
                    </a:lnTo>
                    <a:lnTo>
                      <a:pt x="642" y="404"/>
                    </a:lnTo>
                    <a:lnTo>
                      <a:pt x="642" y="406"/>
                    </a:lnTo>
                    <a:lnTo>
                      <a:pt x="642" y="406"/>
                    </a:lnTo>
                    <a:lnTo>
                      <a:pt x="636" y="39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32" name="Freeform 2997"/>
              <p:cNvSpPr>
                <a:spLocks/>
              </p:cNvSpPr>
              <p:nvPr/>
            </p:nvSpPr>
            <p:spPr bwMode="auto">
              <a:xfrm>
                <a:off x="4987769" y="2297614"/>
                <a:ext cx="673600" cy="537337"/>
              </a:xfrm>
              <a:custGeom>
                <a:avLst/>
                <a:gdLst/>
                <a:ahLst/>
                <a:cxnLst>
                  <a:cxn ang="0">
                    <a:pos x="524" y="202"/>
                  </a:cxn>
                  <a:cxn ang="0">
                    <a:pos x="516" y="146"/>
                  </a:cxn>
                  <a:cxn ang="0">
                    <a:pos x="444" y="76"/>
                  </a:cxn>
                  <a:cxn ang="0">
                    <a:pos x="428" y="2"/>
                  </a:cxn>
                  <a:cxn ang="0">
                    <a:pos x="428" y="0"/>
                  </a:cxn>
                  <a:cxn ang="0">
                    <a:pos x="416" y="0"/>
                  </a:cxn>
                  <a:cxn ang="0">
                    <a:pos x="426" y="0"/>
                  </a:cxn>
                  <a:cxn ang="0">
                    <a:pos x="428" y="6"/>
                  </a:cxn>
                  <a:cxn ang="0">
                    <a:pos x="0" y="24"/>
                  </a:cxn>
                  <a:cxn ang="0">
                    <a:pos x="4" y="160"/>
                  </a:cxn>
                  <a:cxn ang="0">
                    <a:pos x="98" y="418"/>
                  </a:cxn>
                  <a:cxn ang="0">
                    <a:pos x="444" y="408"/>
                  </a:cxn>
                  <a:cxn ang="0">
                    <a:pos x="444" y="378"/>
                  </a:cxn>
                  <a:cxn ang="0">
                    <a:pos x="484" y="308"/>
                  </a:cxn>
                  <a:cxn ang="0">
                    <a:pos x="464" y="268"/>
                  </a:cxn>
                  <a:cxn ang="0">
                    <a:pos x="524" y="202"/>
                  </a:cxn>
                </a:cxnLst>
                <a:rect l="0" t="0" r="r" b="b"/>
                <a:pathLst>
                  <a:path w="524" h="418">
                    <a:moveTo>
                      <a:pt x="524" y="202"/>
                    </a:moveTo>
                    <a:lnTo>
                      <a:pt x="516" y="146"/>
                    </a:lnTo>
                    <a:lnTo>
                      <a:pt x="444" y="76"/>
                    </a:lnTo>
                    <a:lnTo>
                      <a:pt x="428" y="2"/>
                    </a:lnTo>
                    <a:lnTo>
                      <a:pt x="428" y="0"/>
                    </a:lnTo>
                    <a:lnTo>
                      <a:pt x="416" y="0"/>
                    </a:lnTo>
                    <a:lnTo>
                      <a:pt x="426" y="0"/>
                    </a:lnTo>
                    <a:lnTo>
                      <a:pt x="428" y="6"/>
                    </a:lnTo>
                    <a:lnTo>
                      <a:pt x="0" y="24"/>
                    </a:lnTo>
                    <a:lnTo>
                      <a:pt x="4" y="160"/>
                    </a:lnTo>
                    <a:lnTo>
                      <a:pt x="98" y="418"/>
                    </a:lnTo>
                    <a:lnTo>
                      <a:pt x="444" y="408"/>
                    </a:lnTo>
                    <a:lnTo>
                      <a:pt x="444" y="378"/>
                    </a:lnTo>
                    <a:lnTo>
                      <a:pt x="484" y="308"/>
                    </a:lnTo>
                    <a:lnTo>
                      <a:pt x="464" y="268"/>
                    </a:lnTo>
                    <a:lnTo>
                      <a:pt x="524" y="20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33" name="Freeform 2998"/>
              <p:cNvSpPr>
                <a:spLocks/>
              </p:cNvSpPr>
              <p:nvPr/>
            </p:nvSpPr>
            <p:spPr bwMode="auto">
              <a:xfrm>
                <a:off x="4864361" y="1498036"/>
                <a:ext cx="753300" cy="820146"/>
              </a:xfrm>
              <a:custGeom>
                <a:avLst/>
                <a:gdLst/>
                <a:ahLst/>
                <a:cxnLst>
                  <a:cxn ang="0">
                    <a:pos x="514" y="566"/>
                  </a:cxn>
                  <a:cxn ang="0">
                    <a:pos x="376" y="482"/>
                  </a:cxn>
                  <a:cxn ang="0">
                    <a:pos x="346" y="344"/>
                  </a:cxn>
                  <a:cxn ang="0">
                    <a:pos x="386" y="302"/>
                  </a:cxn>
                  <a:cxn ang="0">
                    <a:pos x="424" y="214"/>
                  </a:cxn>
                  <a:cxn ang="0">
                    <a:pos x="418" y="216"/>
                  </a:cxn>
                  <a:cxn ang="0">
                    <a:pos x="506" y="108"/>
                  </a:cxn>
                  <a:cxn ang="0">
                    <a:pos x="586" y="54"/>
                  </a:cxn>
                  <a:cxn ang="0">
                    <a:pos x="406" y="54"/>
                  </a:cxn>
                  <a:cxn ang="0">
                    <a:pos x="158" y="0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78" y="390"/>
                  </a:cxn>
                  <a:cxn ang="0">
                    <a:pos x="60" y="422"/>
                  </a:cxn>
                  <a:cxn ang="0">
                    <a:pos x="90" y="460"/>
                  </a:cxn>
                  <a:cxn ang="0">
                    <a:pos x="96" y="638"/>
                  </a:cxn>
                  <a:cxn ang="0">
                    <a:pos x="512" y="622"/>
                  </a:cxn>
                  <a:cxn ang="0">
                    <a:pos x="524" y="622"/>
                  </a:cxn>
                  <a:cxn ang="0">
                    <a:pos x="514" y="566"/>
                  </a:cxn>
                </a:cxnLst>
                <a:rect l="0" t="0" r="r" b="b"/>
                <a:pathLst>
                  <a:path w="586" h="638">
                    <a:moveTo>
                      <a:pt x="514" y="566"/>
                    </a:moveTo>
                    <a:lnTo>
                      <a:pt x="376" y="482"/>
                    </a:lnTo>
                    <a:lnTo>
                      <a:pt x="346" y="344"/>
                    </a:lnTo>
                    <a:lnTo>
                      <a:pt x="386" y="302"/>
                    </a:lnTo>
                    <a:lnTo>
                      <a:pt x="424" y="214"/>
                    </a:lnTo>
                    <a:lnTo>
                      <a:pt x="418" y="216"/>
                    </a:lnTo>
                    <a:lnTo>
                      <a:pt x="506" y="108"/>
                    </a:lnTo>
                    <a:lnTo>
                      <a:pt x="586" y="54"/>
                    </a:lnTo>
                    <a:lnTo>
                      <a:pt x="406" y="54"/>
                    </a:lnTo>
                    <a:lnTo>
                      <a:pt x="158" y="0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78" y="390"/>
                    </a:lnTo>
                    <a:lnTo>
                      <a:pt x="60" y="422"/>
                    </a:lnTo>
                    <a:lnTo>
                      <a:pt x="90" y="460"/>
                    </a:lnTo>
                    <a:lnTo>
                      <a:pt x="96" y="638"/>
                    </a:lnTo>
                    <a:lnTo>
                      <a:pt x="512" y="622"/>
                    </a:lnTo>
                    <a:lnTo>
                      <a:pt x="524" y="622"/>
                    </a:lnTo>
                    <a:lnTo>
                      <a:pt x="514" y="56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34" name="Freeform 2999"/>
              <p:cNvSpPr>
                <a:spLocks/>
              </p:cNvSpPr>
              <p:nvPr/>
            </p:nvSpPr>
            <p:spPr bwMode="auto">
              <a:xfrm>
                <a:off x="5725643" y="3002066"/>
                <a:ext cx="105411" cy="177398"/>
              </a:xfrm>
              <a:custGeom>
                <a:avLst/>
                <a:gdLst/>
                <a:ahLst/>
                <a:cxnLst>
                  <a:cxn ang="0">
                    <a:pos x="4" y="84"/>
                  </a:cxn>
                  <a:cxn ang="0">
                    <a:pos x="4" y="0"/>
                  </a:cxn>
                  <a:cxn ang="0">
                    <a:pos x="0" y="84"/>
                  </a:cxn>
                  <a:cxn ang="0">
                    <a:pos x="82" y="138"/>
                  </a:cxn>
                  <a:cxn ang="0">
                    <a:pos x="4" y="84"/>
                  </a:cxn>
                </a:cxnLst>
                <a:rect l="0" t="0" r="r" b="b"/>
                <a:pathLst>
                  <a:path w="82" h="138">
                    <a:moveTo>
                      <a:pt x="4" y="84"/>
                    </a:moveTo>
                    <a:lnTo>
                      <a:pt x="4" y="0"/>
                    </a:lnTo>
                    <a:lnTo>
                      <a:pt x="0" y="84"/>
                    </a:lnTo>
                    <a:lnTo>
                      <a:pt x="82" y="138"/>
                    </a:lnTo>
                    <a:lnTo>
                      <a:pt x="4" y="8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35" name="Freeform 3000"/>
              <p:cNvSpPr>
                <a:spLocks/>
              </p:cNvSpPr>
              <p:nvPr/>
            </p:nvSpPr>
            <p:spPr bwMode="auto">
              <a:xfrm>
                <a:off x="5725643" y="3102335"/>
                <a:ext cx="300806" cy="187682"/>
              </a:xfrm>
              <a:custGeom>
                <a:avLst/>
                <a:gdLst/>
                <a:ahLst/>
                <a:cxnLst>
                  <a:cxn ang="0">
                    <a:pos x="110" y="146"/>
                  </a:cxn>
                  <a:cxn ang="0">
                    <a:pos x="132" y="102"/>
                  </a:cxn>
                  <a:cxn ang="0">
                    <a:pos x="182" y="128"/>
                  </a:cxn>
                  <a:cxn ang="0">
                    <a:pos x="224" y="72"/>
                  </a:cxn>
                  <a:cxn ang="0">
                    <a:pos x="234" y="0"/>
                  </a:cxn>
                  <a:cxn ang="0">
                    <a:pos x="222" y="72"/>
                  </a:cxn>
                  <a:cxn ang="0">
                    <a:pos x="182" y="124"/>
                  </a:cxn>
                  <a:cxn ang="0">
                    <a:pos x="132" y="96"/>
                  </a:cxn>
                  <a:cxn ang="0">
                    <a:pos x="110" y="138"/>
                  </a:cxn>
                  <a:cxn ang="0">
                    <a:pos x="82" y="60"/>
                  </a:cxn>
                  <a:cxn ang="0">
                    <a:pos x="0" y="6"/>
                  </a:cxn>
                  <a:cxn ang="0">
                    <a:pos x="80" y="64"/>
                  </a:cxn>
                  <a:cxn ang="0">
                    <a:pos x="110" y="146"/>
                  </a:cxn>
                </a:cxnLst>
                <a:rect l="0" t="0" r="r" b="b"/>
                <a:pathLst>
                  <a:path w="234" h="146">
                    <a:moveTo>
                      <a:pt x="110" y="146"/>
                    </a:moveTo>
                    <a:lnTo>
                      <a:pt x="132" y="102"/>
                    </a:lnTo>
                    <a:lnTo>
                      <a:pt x="182" y="128"/>
                    </a:lnTo>
                    <a:lnTo>
                      <a:pt x="224" y="72"/>
                    </a:lnTo>
                    <a:lnTo>
                      <a:pt x="234" y="0"/>
                    </a:lnTo>
                    <a:lnTo>
                      <a:pt x="222" y="72"/>
                    </a:lnTo>
                    <a:lnTo>
                      <a:pt x="182" y="124"/>
                    </a:lnTo>
                    <a:lnTo>
                      <a:pt x="132" y="96"/>
                    </a:lnTo>
                    <a:lnTo>
                      <a:pt x="110" y="138"/>
                    </a:lnTo>
                    <a:lnTo>
                      <a:pt x="82" y="60"/>
                    </a:lnTo>
                    <a:lnTo>
                      <a:pt x="0" y="6"/>
                    </a:lnTo>
                    <a:lnTo>
                      <a:pt x="80" y="64"/>
                    </a:lnTo>
                    <a:lnTo>
                      <a:pt x="110" y="14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36" name="Freeform 3001"/>
              <p:cNvSpPr>
                <a:spLocks/>
              </p:cNvSpPr>
              <p:nvPr/>
            </p:nvSpPr>
            <p:spPr bwMode="auto">
              <a:xfrm>
                <a:off x="6011023" y="2984069"/>
                <a:ext cx="35994" cy="210821"/>
              </a:xfrm>
              <a:custGeom>
                <a:avLst/>
                <a:gdLst/>
                <a:ahLst/>
                <a:cxnLst>
                  <a:cxn ang="0">
                    <a:pos x="0" y="164"/>
                  </a:cxn>
                  <a:cxn ang="0">
                    <a:pos x="12" y="92"/>
                  </a:cxn>
                  <a:cxn ang="0">
                    <a:pos x="14" y="82"/>
                  </a:cxn>
                  <a:cxn ang="0">
                    <a:pos x="16" y="72"/>
                  </a:cxn>
                  <a:cxn ang="0">
                    <a:pos x="28" y="0"/>
                  </a:cxn>
                  <a:cxn ang="0">
                    <a:pos x="8" y="82"/>
                  </a:cxn>
                  <a:cxn ang="0">
                    <a:pos x="0" y="164"/>
                  </a:cxn>
                </a:cxnLst>
                <a:rect l="0" t="0" r="r" b="b"/>
                <a:pathLst>
                  <a:path w="28" h="164">
                    <a:moveTo>
                      <a:pt x="0" y="164"/>
                    </a:moveTo>
                    <a:lnTo>
                      <a:pt x="12" y="92"/>
                    </a:lnTo>
                    <a:lnTo>
                      <a:pt x="14" y="82"/>
                    </a:lnTo>
                    <a:lnTo>
                      <a:pt x="16" y="72"/>
                    </a:lnTo>
                    <a:lnTo>
                      <a:pt x="28" y="0"/>
                    </a:lnTo>
                    <a:lnTo>
                      <a:pt x="8" y="82"/>
                    </a:lnTo>
                    <a:lnTo>
                      <a:pt x="0" y="16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37" name="Freeform 3003"/>
              <p:cNvSpPr>
                <a:spLocks/>
              </p:cNvSpPr>
              <p:nvPr/>
            </p:nvSpPr>
            <p:spPr bwMode="auto">
              <a:xfrm>
                <a:off x="6026449" y="3076625"/>
                <a:ext cx="5142" cy="2571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4" y="0"/>
                  </a:cxn>
                  <a:cxn ang="0">
                    <a:pos x="2" y="10"/>
                  </a:cxn>
                  <a:cxn ang="0">
                    <a:pos x="0" y="20"/>
                  </a:cxn>
                </a:cxnLst>
                <a:rect l="0" t="0" r="r" b="b"/>
                <a:pathLst>
                  <a:path w="4" h="20">
                    <a:moveTo>
                      <a:pt x="0" y="20"/>
                    </a:moveTo>
                    <a:lnTo>
                      <a:pt x="4" y="0"/>
                    </a:lnTo>
                    <a:lnTo>
                      <a:pt x="2" y="1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38" name="Freeform 3004"/>
              <p:cNvSpPr>
                <a:spLocks/>
              </p:cNvSpPr>
              <p:nvPr/>
            </p:nvSpPr>
            <p:spPr bwMode="auto">
              <a:xfrm>
                <a:off x="6088153" y="3050915"/>
                <a:ext cx="133692" cy="77130"/>
              </a:xfrm>
              <a:custGeom>
                <a:avLst/>
                <a:gdLst/>
                <a:ahLst/>
                <a:cxnLst>
                  <a:cxn ang="0">
                    <a:pos x="24" y="54"/>
                  </a:cxn>
                  <a:cxn ang="0">
                    <a:pos x="0" y="40"/>
                  </a:cxn>
                  <a:cxn ang="0">
                    <a:pos x="24" y="60"/>
                  </a:cxn>
                  <a:cxn ang="0">
                    <a:pos x="104" y="0"/>
                  </a:cxn>
                  <a:cxn ang="0">
                    <a:pos x="24" y="54"/>
                  </a:cxn>
                </a:cxnLst>
                <a:rect l="0" t="0" r="r" b="b"/>
                <a:pathLst>
                  <a:path w="104" h="60">
                    <a:moveTo>
                      <a:pt x="24" y="54"/>
                    </a:moveTo>
                    <a:lnTo>
                      <a:pt x="0" y="40"/>
                    </a:lnTo>
                    <a:lnTo>
                      <a:pt x="24" y="60"/>
                    </a:lnTo>
                    <a:lnTo>
                      <a:pt x="104" y="0"/>
                    </a:lnTo>
                    <a:lnTo>
                      <a:pt x="24" y="5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39" name="Freeform 3005"/>
              <p:cNvSpPr>
                <a:spLocks/>
              </p:cNvSpPr>
              <p:nvPr/>
            </p:nvSpPr>
            <p:spPr bwMode="auto">
              <a:xfrm>
                <a:off x="6257838" y="2878658"/>
                <a:ext cx="113124" cy="190253"/>
              </a:xfrm>
              <a:custGeom>
                <a:avLst/>
                <a:gdLst/>
                <a:ahLst/>
                <a:cxnLst>
                  <a:cxn ang="0">
                    <a:pos x="0" y="148"/>
                  </a:cxn>
                  <a:cxn ang="0">
                    <a:pos x="52" y="42"/>
                  </a:cxn>
                  <a:cxn ang="0">
                    <a:pos x="88" y="0"/>
                  </a:cxn>
                  <a:cxn ang="0">
                    <a:pos x="50" y="40"/>
                  </a:cxn>
                  <a:cxn ang="0">
                    <a:pos x="0" y="148"/>
                  </a:cxn>
                </a:cxnLst>
                <a:rect l="0" t="0" r="r" b="b"/>
                <a:pathLst>
                  <a:path w="88" h="148">
                    <a:moveTo>
                      <a:pt x="0" y="148"/>
                    </a:moveTo>
                    <a:lnTo>
                      <a:pt x="52" y="42"/>
                    </a:lnTo>
                    <a:lnTo>
                      <a:pt x="88" y="0"/>
                    </a:lnTo>
                    <a:lnTo>
                      <a:pt x="50" y="40"/>
                    </a:lnTo>
                    <a:lnTo>
                      <a:pt x="0" y="14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40" name="Freeform 3006"/>
              <p:cNvSpPr>
                <a:spLocks/>
              </p:cNvSpPr>
              <p:nvPr/>
            </p:nvSpPr>
            <p:spPr bwMode="auto">
              <a:xfrm>
                <a:off x="6018736" y="3102335"/>
                <a:ext cx="100269" cy="61704"/>
              </a:xfrm>
              <a:custGeom>
                <a:avLst/>
                <a:gdLst/>
                <a:ahLst/>
                <a:cxnLst>
                  <a:cxn ang="0">
                    <a:pos x="0" y="44"/>
                  </a:cxn>
                  <a:cxn ang="0">
                    <a:pos x="0" y="48"/>
                  </a:cxn>
                  <a:cxn ang="0">
                    <a:pos x="54" y="4"/>
                  </a:cxn>
                  <a:cxn ang="0">
                    <a:pos x="78" y="20"/>
                  </a:cxn>
                  <a:cxn ang="0">
                    <a:pos x="54" y="0"/>
                  </a:cxn>
                  <a:cxn ang="0">
                    <a:pos x="0" y="44"/>
                  </a:cxn>
                </a:cxnLst>
                <a:rect l="0" t="0" r="r" b="b"/>
                <a:pathLst>
                  <a:path w="78" h="48">
                    <a:moveTo>
                      <a:pt x="0" y="44"/>
                    </a:moveTo>
                    <a:lnTo>
                      <a:pt x="0" y="48"/>
                    </a:lnTo>
                    <a:lnTo>
                      <a:pt x="54" y="4"/>
                    </a:lnTo>
                    <a:lnTo>
                      <a:pt x="78" y="20"/>
                    </a:lnTo>
                    <a:lnTo>
                      <a:pt x="54" y="0"/>
                    </a:lnTo>
                    <a:lnTo>
                      <a:pt x="0" y="4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41" name="Freeform 3007"/>
              <p:cNvSpPr>
                <a:spLocks/>
              </p:cNvSpPr>
              <p:nvPr/>
            </p:nvSpPr>
            <p:spPr bwMode="auto">
              <a:xfrm>
                <a:off x="6119005" y="2932649"/>
                <a:ext cx="205679" cy="195395"/>
              </a:xfrm>
              <a:custGeom>
                <a:avLst/>
                <a:gdLst/>
                <a:ahLst/>
                <a:cxnLst>
                  <a:cxn ang="0">
                    <a:pos x="80" y="92"/>
                  </a:cxn>
                  <a:cxn ang="0">
                    <a:pos x="0" y="152"/>
                  </a:cxn>
                  <a:cxn ang="0">
                    <a:pos x="80" y="96"/>
                  </a:cxn>
                  <a:cxn ang="0">
                    <a:pos x="110" y="110"/>
                  </a:cxn>
                  <a:cxn ang="0">
                    <a:pos x="160" y="0"/>
                  </a:cxn>
                  <a:cxn ang="0">
                    <a:pos x="108" y="106"/>
                  </a:cxn>
                  <a:cxn ang="0">
                    <a:pos x="80" y="92"/>
                  </a:cxn>
                </a:cxnLst>
                <a:rect l="0" t="0" r="r" b="b"/>
                <a:pathLst>
                  <a:path w="160" h="152">
                    <a:moveTo>
                      <a:pt x="80" y="92"/>
                    </a:moveTo>
                    <a:lnTo>
                      <a:pt x="0" y="152"/>
                    </a:lnTo>
                    <a:lnTo>
                      <a:pt x="80" y="96"/>
                    </a:lnTo>
                    <a:lnTo>
                      <a:pt x="110" y="110"/>
                    </a:lnTo>
                    <a:lnTo>
                      <a:pt x="160" y="0"/>
                    </a:lnTo>
                    <a:lnTo>
                      <a:pt x="108" y="106"/>
                    </a:lnTo>
                    <a:lnTo>
                      <a:pt x="80" y="9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42" name="Freeform 3008"/>
              <p:cNvSpPr>
                <a:spLocks/>
              </p:cNvSpPr>
              <p:nvPr/>
            </p:nvSpPr>
            <p:spPr bwMode="auto">
              <a:xfrm>
                <a:off x="6365820" y="2860662"/>
                <a:ext cx="5142" cy="1799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14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4" h="14">
                    <a:moveTo>
                      <a:pt x="0" y="2"/>
                    </a:moveTo>
                    <a:lnTo>
                      <a:pt x="4" y="14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43" name="Freeform 3010"/>
              <p:cNvSpPr>
                <a:spLocks/>
              </p:cNvSpPr>
              <p:nvPr/>
            </p:nvSpPr>
            <p:spPr bwMode="auto">
              <a:xfrm>
                <a:off x="6000739" y="2480155"/>
                <a:ext cx="370223" cy="673600"/>
              </a:xfrm>
              <a:custGeom>
                <a:avLst/>
                <a:gdLst/>
                <a:ahLst/>
                <a:cxnLst>
                  <a:cxn ang="0">
                    <a:pos x="92" y="498"/>
                  </a:cxn>
                  <a:cxn ang="0">
                    <a:pos x="172" y="444"/>
                  </a:cxn>
                  <a:cxn ang="0">
                    <a:pos x="200" y="458"/>
                  </a:cxn>
                  <a:cxn ang="0">
                    <a:pos x="250" y="350"/>
                  </a:cxn>
                  <a:cxn ang="0">
                    <a:pos x="288" y="310"/>
                  </a:cxn>
                  <a:cxn ang="0">
                    <a:pos x="284" y="298"/>
                  </a:cxn>
                  <a:cxn ang="0">
                    <a:pos x="284" y="298"/>
                  </a:cxn>
                  <a:cxn ang="0">
                    <a:pos x="284" y="296"/>
                  </a:cxn>
                  <a:cxn ang="0">
                    <a:pos x="216" y="0"/>
                  </a:cxn>
                  <a:cxn ang="0">
                    <a:pos x="26" y="6"/>
                  </a:cxn>
                  <a:cxn ang="0">
                    <a:pos x="0" y="28"/>
                  </a:cxn>
                  <a:cxn ang="0">
                    <a:pos x="38" y="392"/>
                  </a:cxn>
                  <a:cxn ang="0">
                    <a:pos x="24" y="464"/>
                  </a:cxn>
                  <a:cxn ang="0">
                    <a:pos x="20" y="484"/>
                  </a:cxn>
                  <a:cxn ang="0">
                    <a:pos x="14" y="524"/>
                  </a:cxn>
                  <a:cxn ang="0">
                    <a:pos x="68" y="484"/>
                  </a:cxn>
                  <a:cxn ang="0">
                    <a:pos x="92" y="498"/>
                  </a:cxn>
                </a:cxnLst>
                <a:rect l="0" t="0" r="r" b="b"/>
                <a:pathLst>
                  <a:path w="288" h="524">
                    <a:moveTo>
                      <a:pt x="92" y="498"/>
                    </a:moveTo>
                    <a:lnTo>
                      <a:pt x="172" y="444"/>
                    </a:lnTo>
                    <a:lnTo>
                      <a:pt x="200" y="458"/>
                    </a:lnTo>
                    <a:lnTo>
                      <a:pt x="250" y="350"/>
                    </a:lnTo>
                    <a:lnTo>
                      <a:pt x="288" y="310"/>
                    </a:lnTo>
                    <a:lnTo>
                      <a:pt x="284" y="298"/>
                    </a:lnTo>
                    <a:lnTo>
                      <a:pt x="284" y="298"/>
                    </a:lnTo>
                    <a:lnTo>
                      <a:pt x="284" y="296"/>
                    </a:lnTo>
                    <a:lnTo>
                      <a:pt x="216" y="0"/>
                    </a:lnTo>
                    <a:lnTo>
                      <a:pt x="26" y="6"/>
                    </a:lnTo>
                    <a:lnTo>
                      <a:pt x="0" y="28"/>
                    </a:lnTo>
                    <a:lnTo>
                      <a:pt x="38" y="392"/>
                    </a:lnTo>
                    <a:lnTo>
                      <a:pt x="24" y="464"/>
                    </a:lnTo>
                    <a:lnTo>
                      <a:pt x="20" y="484"/>
                    </a:lnTo>
                    <a:lnTo>
                      <a:pt x="14" y="524"/>
                    </a:lnTo>
                    <a:lnTo>
                      <a:pt x="68" y="484"/>
                    </a:lnTo>
                    <a:lnTo>
                      <a:pt x="92" y="49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44" name="Freeform 3011"/>
              <p:cNvSpPr>
                <a:spLocks/>
              </p:cNvSpPr>
              <p:nvPr/>
            </p:nvSpPr>
            <p:spPr bwMode="auto">
              <a:xfrm>
                <a:off x="6090724" y="3583110"/>
                <a:ext cx="41136" cy="44992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350"/>
                  </a:cxn>
                  <a:cxn ang="0">
                    <a:pos x="8" y="68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32" h="350">
                    <a:moveTo>
                      <a:pt x="0" y="0"/>
                    </a:moveTo>
                    <a:lnTo>
                      <a:pt x="32" y="350"/>
                    </a:lnTo>
                    <a:lnTo>
                      <a:pt x="8" y="68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45" name="Freeform 3012"/>
              <p:cNvSpPr>
                <a:spLocks/>
              </p:cNvSpPr>
              <p:nvPr/>
            </p:nvSpPr>
            <p:spPr bwMode="auto">
              <a:xfrm>
                <a:off x="5733356" y="3580539"/>
                <a:ext cx="421643" cy="753300"/>
              </a:xfrm>
              <a:custGeom>
                <a:avLst/>
                <a:gdLst/>
                <a:ahLst/>
                <a:cxnLst>
                  <a:cxn ang="0">
                    <a:pos x="278" y="0"/>
                  </a:cxn>
                  <a:cxn ang="0">
                    <a:pos x="74" y="22"/>
                  </a:cxn>
                  <a:cxn ang="0">
                    <a:pos x="0" y="240"/>
                  </a:cxn>
                  <a:cxn ang="0">
                    <a:pos x="38" y="372"/>
                  </a:cxn>
                  <a:cxn ang="0">
                    <a:pos x="6" y="522"/>
                  </a:cxn>
                  <a:cxn ang="0">
                    <a:pos x="178" y="508"/>
                  </a:cxn>
                  <a:cxn ang="0">
                    <a:pos x="216" y="586"/>
                  </a:cxn>
                  <a:cxn ang="0">
                    <a:pos x="298" y="560"/>
                  </a:cxn>
                  <a:cxn ang="0">
                    <a:pos x="328" y="560"/>
                  </a:cxn>
                  <a:cxn ang="0">
                    <a:pos x="310" y="352"/>
                  </a:cxn>
                  <a:cxn ang="0">
                    <a:pos x="278" y="2"/>
                  </a:cxn>
                  <a:cxn ang="0">
                    <a:pos x="280" y="2"/>
                  </a:cxn>
                  <a:cxn ang="0">
                    <a:pos x="286" y="70"/>
                  </a:cxn>
                  <a:cxn ang="0">
                    <a:pos x="280" y="0"/>
                  </a:cxn>
                  <a:cxn ang="0">
                    <a:pos x="278" y="0"/>
                  </a:cxn>
                </a:cxnLst>
                <a:rect l="0" t="0" r="r" b="b"/>
                <a:pathLst>
                  <a:path w="328" h="586">
                    <a:moveTo>
                      <a:pt x="278" y="0"/>
                    </a:moveTo>
                    <a:lnTo>
                      <a:pt x="74" y="22"/>
                    </a:lnTo>
                    <a:lnTo>
                      <a:pt x="0" y="240"/>
                    </a:lnTo>
                    <a:lnTo>
                      <a:pt x="38" y="372"/>
                    </a:lnTo>
                    <a:lnTo>
                      <a:pt x="6" y="522"/>
                    </a:lnTo>
                    <a:lnTo>
                      <a:pt x="178" y="508"/>
                    </a:lnTo>
                    <a:lnTo>
                      <a:pt x="216" y="586"/>
                    </a:lnTo>
                    <a:lnTo>
                      <a:pt x="298" y="560"/>
                    </a:lnTo>
                    <a:lnTo>
                      <a:pt x="328" y="560"/>
                    </a:lnTo>
                    <a:lnTo>
                      <a:pt x="310" y="352"/>
                    </a:lnTo>
                    <a:lnTo>
                      <a:pt x="278" y="2"/>
                    </a:lnTo>
                    <a:lnTo>
                      <a:pt x="280" y="2"/>
                    </a:lnTo>
                    <a:lnTo>
                      <a:pt x="286" y="70"/>
                    </a:lnTo>
                    <a:lnTo>
                      <a:pt x="280" y="0"/>
                    </a:lnTo>
                    <a:lnTo>
                      <a:pt x="278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46" name="Freeform 3013"/>
              <p:cNvSpPr>
                <a:spLocks/>
              </p:cNvSpPr>
              <p:nvPr/>
            </p:nvSpPr>
            <p:spPr bwMode="auto">
              <a:xfrm>
                <a:off x="6131860" y="4033033"/>
                <a:ext cx="25710" cy="267383"/>
              </a:xfrm>
              <a:custGeom>
                <a:avLst/>
                <a:gdLst/>
                <a:ahLst/>
                <a:cxnLst>
                  <a:cxn ang="0">
                    <a:pos x="20" y="208"/>
                  </a:cxn>
                  <a:cxn ang="0">
                    <a:pos x="0" y="0"/>
                  </a:cxn>
                  <a:cxn ang="0">
                    <a:pos x="18" y="208"/>
                  </a:cxn>
                  <a:cxn ang="0">
                    <a:pos x="20" y="208"/>
                  </a:cxn>
                </a:cxnLst>
                <a:rect l="0" t="0" r="r" b="b"/>
                <a:pathLst>
                  <a:path w="20" h="208">
                    <a:moveTo>
                      <a:pt x="20" y="208"/>
                    </a:moveTo>
                    <a:lnTo>
                      <a:pt x="0" y="0"/>
                    </a:lnTo>
                    <a:lnTo>
                      <a:pt x="18" y="208"/>
                    </a:lnTo>
                    <a:lnTo>
                      <a:pt x="20" y="20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47" name="Freeform 3014"/>
              <p:cNvSpPr>
                <a:spLocks/>
              </p:cNvSpPr>
              <p:nvPr/>
            </p:nvSpPr>
            <p:spPr bwMode="auto">
              <a:xfrm>
                <a:off x="6093295" y="3534261"/>
                <a:ext cx="473062" cy="766155"/>
              </a:xfrm>
              <a:custGeom>
                <a:avLst/>
                <a:gdLst/>
                <a:ahLst/>
                <a:cxnLst>
                  <a:cxn ang="0">
                    <a:pos x="368" y="466"/>
                  </a:cxn>
                  <a:cxn ang="0">
                    <a:pos x="350" y="330"/>
                  </a:cxn>
                  <a:cxn ang="0">
                    <a:pos x="226" y="0"/>
                  </a:cxn>
                  <a:cxn ang="0">
                    <a:pos x="0" y="36"/>
                  </a:cxn>
                  <a:cxn ang="0">
                    <a:pos x="6" y="106"/>
                  </a:cxn>
                  <a:cxn ang="0">
                    <a:pos x="52" y="596"/>
                  </a:cxn>
                  <a:cxn ang="0">
                    <a:pos x="96" y="596"/>
                  </a:cxn>
                  <a:cxn ang="0">
                    <a:pos x="134" y="580"/>
                  </a:cxn>
                  <a:cxn ang="0">
                    <a:pos x="90" y="490"/>
                  </a:cxn>
                  <a:cxn ang="0">
                    <a:pos x="368" y="466"/>
                  </a:cxn>
                </a:cxnLst>
                <a:rect l="0" t="0" r="r" b="b"/>
                <a:pathLst>
                  <a:path w="368" h="596">
                    <a:moveTo>
                      <a:pt x="368" y="466"/>
                    </a:moveTo>
                    <a:lnTo>
                      <a:pt x="350" y="330"/>
                    </a:lnTo>
                    <a:lnTo>
                      <a:pt x="226" y="0"/>
                    </a:lnTo>
                    <a:lnTo>
                      <a:pt x="0" y="36"/>
                    </a:lnTo>
                    <a:lnTo>
                      <a:pt x="6" y="106"/>
                    </a:lnTo>
                    <a:lnTo>
                      <a:pt x="52" y="596"/>
                    </a:lnTo>
                    <a:lnTo>
                      <a:pt x="96" y="596"/>
                    </a:lnTo>
                    <a:lnTo>
                      <a:pt x="134" y="580"/>
                    </a:lnTo>
                    <a:lnTo>
                      <a:pt x="90" y="490"/>
                    </a:lnTo>
                    <a:lnTo>
                      <a:pt x="368" y="46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48" name="Freeform 3015"/>
              <p:cNvSpPr>
                <a:spLocks/>
              </p:cNvSpPr>
              <p:nvPr/>
            </p:nvSpPr>
            <p:spPr bwMode="auto">
              <a:xfrm>
                <a:off x="6689765" y="3521406"/>
                <a:ext cx="69417" cy="48849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52" y="4"/>
                  </a:cxn>
                  <a:cxn ang="0">
                    <a:pos x="52" y="38"/>
                  </a:cxn>
                  <a:cxn ang="0">
                    <a:pos x="54" y="0"/>
                  </a:cxn>
                  <a:cxn ang="0">
                    <a:pos x="0" y="6"/>
                  </a:cxn>
                </a:cxnLst>
                <a:rect l="0" t="0" r="r" b="b"/>
                <a:pathLst>
                  <a:path w="54" h="38">
                    <a:moveTo>
                      <a:pt x="0" y="6"/>
                    </a:moveTo>
                    <a:lnTo>
                      <a:pt x="52" y="4"/>
                    </a:lnTo>
                    <a:lnTo>
                      <a:pt x="52" y="38"/>
                    </a:lnTo>
                    <a:lnTo>
                      <a:pt x="54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49" name="Freeform 3016"/>
              <p:cNvSpPr>
                <a:spLocks/>
              </p:cNvSpPr>
              <p:nvPr/>
            </p:nvSpPr>
            <p:spPr bwMode="auto">
              <a:xfrm>
                <a:off x="6689765" y="3475128"/>
                <a:ext cx="69417" cy="53991"/>
              </a:xfrm>
              <a:custGeom>
                <a:avLst/>
                <a:gdLst/>
                <a:ahLst/>
                <a:cxnLst>
                  <a:cxn ang="0">
                    <a:pos x="6" y="40"/>
                  </a:cxn>
                  <a:cxn ang="0">
                    <a:pos x="22" y="0"/>
                  </a:cxn>
                  <a:cxn ang="0">
                    <a:pos x="0" y="42"/>
                  </a:cxn>
                  <a:cxn ang="0">
                    <a:pos x="54" y="36"/>
                  </a:cxn>
                  <a:cxn ang="0">
                    <a:pos x="6" y="40"/>
                  </a:cxn>
                </a:cxnLst>
                <a:rect l="0" t="0" r="r" b="b"/>
                <a:pathLst>
                  <a:path w="54" h="42">
                    <a:moveTo>
                      <a:pt x="6" y="40"/>
                    </a:moveTo>
                    <a:lnTo>
                      <a:pt x="22" y="0"/>
                    </a:lnTo>
                    <a:lnTo>
                      <a:pt x="0" y="42"/>
                    </a:lnTo>
                    <a:lnTo>
                      <a:pt x="54" y="36"/>
                    </a:lnTo>
                    <a:lnTo>
                      <a:pt x="6" y="4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50" name="Freeform 3017"/>
              <p:cNvSpPr>
                <a:spLocks/>
              </p:cNvSpPr>
              <p:nvPr/>
            </p:nvSpPr>
            <p:spPr bwMode="auto">
              <a:xfrm>
                <a:off x="6756610" y="3521406"/>
                <a:ext cx="339371" cy="33422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38"/>
                  </a:cxn>
                  <a:cxn ang="0">
                    <a:pos x="264" y="260"/>
                  </a:cxn>
                  <a:cxn ang="0">
                    <a:pos x="2" y="36"/>
                  </a:cxn>
                  <a:cxn ang="0">
                    <a:pos x="2" y="0"/>
                  </a:cxn>
                </a:cxnLst>
                <a:rect l="0" t="0" r="r" b="b"/>
                <a:pathLst>
                  <a:path w="264" h="260">
                    <a:moveTo>
                      <a:pt x="2" y="0"/>
                    </a:moveTo>
                    <a:lnTo>
                      <a:pt x="0" y="38"/>
                    </a:lnTo>
                    <a:lnTo>
                      <a:pt x="264" y="260"/>
                    </a:lnTo>
                    <a:lnTo>
                      <a:pt x="2" y="36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51" name="Freeform 3018"/>
              <p:cNvSpPr>
                <a:spLocks/>
              </p:cNvSpPr>
              <p:nvPr/>
            </p:nvSpPr>
            <p:spPr bwMode="auto">
              <a:xfrm>
                <a:off x="6689765" y="3457131"/>
                <a:ext cx="35994" cy="71988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2" y="2"/>
                  </a:cxn>
                  <a:cxn ang="0">
                    <a:pos x="0" y="56"/>
                  </a:cxn>
                  <a:cxn ang="0">
                    <a:pos x="22" y="14"/>
                  </a:cxn>
                  <a:cxn ang="0">
                    <a:pos x="28" y="0"/>
                  </a:cxn>
                </a:cxnLst>
                <a:rect l="0" t="0" r="r" b="b"/>
                <a:pathLst>
                  <a:path w="28" h="56">
                    <a:moveTo>
                      <a:pt x="28" y="0"/>
                    </a:moveTo>
                    <a:lnTo>
                      <a:pt x="22" y="2"/>
                    </a:lnTo>
                    <a:lnTo>
                      <a:pt x="0" y="56"/>
                    </a:lnTo>
                    <a:lnTo>
                      <a:pt x="22" y="14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52" name="Freeform 3019"/>
              <p:cNvSpPr>
                <a:spLocks/>
              </p:cNvSpPr>
              <p:nvPr/>
            </p:nvSpPr>
            <p:spPr bwMode="auto">
              <a:xfrm>
                <a:off x="6697478" y="3369718"/>
                <a:ext cx="563047" cy="485917"/>
              </a:xfrm>
              <a:custGeom>
                <a:avLst/>
                <a:gdLst/>
                <a:ahLst/>
                <a:cxnLst>
                  <a:cxn ang="0">
                    <a:pos x="0" y="122"/>
                  </a:cxn>
                  <a:cxn ang="0">
                    <a:pos x="48" y="118"/>
                  </a:cxn>
                  <a:cxn ang="0">
                    <a:pos x="48" y="154"/>
                  </a:cxn>
                  <a:cxn ang="0">
                    <a:pos x="310" y="378"/>
                  </a:cxn>
                  <a:cxn ang="0">
                    <a:pos x="422" y="176"/>
                  </a:cxn>
                  <a:cxn ang="0">
                    <a:pos x="438" y="104"/>
                  </a:cxn>
                  <a:cxn ang="0">
                    <a:pos x="306" y="16"/>
                  </a:cxn>
                  <a:cxn ang="0">
                    <a:pos x="224" y="32"/>
                  </a:cxn>
                  <a:cxn ang="0">
                    <a:pos x="194" y="0"/>
                  </a:cxn>
                  <a:cxn ang="0">
                    <a:pos x="24" y="66"/>
                  </a:cxn>
                  <a:cxn ang="0">
                    <a:pos x="16" y="82"/>
                  </a:cxn>
                  <a:cxn ang="0">
                    <a:pos x="0" y="122"/>
                  </a:cxn>
                </a:cxnLst>
                <a:rect l="0" t="0" r="r" b="b"/>
                <a:pathLst>
                  <a:path w="438" h="378">
                    <a:moveTo>
                      <a:pt x="0" y="122"/>
                    </a:moveTo>
                    <a:lnTo>
                      <a:pt x="48" y="118"/>
                    </a:lnTo>
                    <a:lnTo>
                      <a:pt x="48" y="154"/>
                    </a:lnTo>
                    <a:lnTo>
                      <a:pt x="310" y="378"/>
                    </a:lnTo>
                    <a:lnTo>
                      <a:pt x="422" y="176"/>
                    </a:lnTo>
                    <a:lnTo>
                      <a:pt x="438" y="104"/>
                    </a:lnTo>
                    <a:lnTo>
                      <a:pt x="306" y="16"/>
                    </a:lnTo>
                    <a:lnTo>
                      <a:pt x="224" y="32"/>
                    </a:lnTo>
                    <a:lnTo>
                      <a:pt x="194" y="0"/>
                    </a:lnTo>
                    <a:lnTo>
                      <a:pt x="24" y="66"/>
                    </a:lnTo>
                    <a:lnTo>
                      <a:pt x="16" y="82"/>
                    </a:lnTo>
                    <a:lnTo>
                      <a:pt x="0" y="12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53" name="Freeform 3020"/>
              <p:cNvSpPr>
                <a:spLocks/>
              </p:cNvSpPr>
              <p:nvPr/>
            </p:nvSpPr>
            <p:spPr bwMode="auto">
              <a:xfrm>
                <a:off x="6574070" y="4087024"/>
                <a:ext cx="411359" cy="107982"/>
              </a:xfrm>
              <a:custGeom>
                <a:avLst/>
                <a:gdLst/>
                <a:ahLst/>
                <a:cxnLst>
                  <a:cxn ang="0">
                    <a:pos x="278" y="42"/>
                  </a:cxn>
                  <a:cxn ang="0">
                    <a:pos x="320" y="56"/>
                  </a:cxn>
                  <a:cxn ang="0">
                    <a:pos x="314" y="0"/>
                  </a:cxn>
                  <a:cxn ang="0">
                    <a:pos x="314" y="48"/>
                  </a:cxn>
                  <a:cxn ang="0">
                    <a:pos x="280" y="36"/>
                  </a:cxn>
                  <a:cxn ang="0">
                    <a:pos x="18" y="78"/>
                  </a:cxn>
                  <a:cxn ang="0">
                    <a:pos x="0" y="54"/>
                  </a:cxn>
                  <a:cxn ang="0">
                    <a:pos x="18" y="84"/>
                  </a:cxn>
                  <a:cxn ang="0">
                    <a:pos x="278" y="42"/>
                  </a:cxn>
                </a:cxnLst>
                <a:rect l="0" t="0" r="r" b="b"/>
                <a:pathLst>
                  <a:path w="320" h="84">
                    <a:moveTo>
                      <a:pt x="278" y="42"/>
                    </a:moveTo>
                    <a:lnTo>
                      <a:pt x="320" y="56"/>
                    </a:lnTo>
                    <a:lnTo>
                      <a:pt x="314" y="0"/>
                    </a:lnTo>
                    <a:lnTo>
                      <a:pt x="314" y="48"/>
                    </a:lnTo>
                    <a:lnTo>
                      <a:pt x="280" y="36"/>
                    </a:lnTo>
                    <a:lnTo>
                      <a:pt x="18" y="78"/>
                    </a:lnTo>
                    <a:lnTo>
                      <a:pt x="0" y="54"/>
                    </a:lnTo>
                    <a:lnTo>
                      <a:pt x="18" y="84"/>
                    </a:lnTo>
                    <a:lnTo>
                      <a:pt x="278" y="4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54" name="Freeform 3021"/>
              <p:cNvSpPr>
                <a:spLocks/>
              </p:cNvSpPr>
              <p:nvPr/>
            </p:nvSpPr>
            <p:spPr bwMode="auto">
              <a:xfrm>
                <a:off x="6977716" y="4084453"/>
                <a:ext cx="89985" cy="514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70" y="4"/>
                  </a:cxn>
                  <a:cxn ang="0">
                    <a:pos x="70" y="0"/>
                  </a:cxn>
                  <a:cxn ang="0">
                    <a:pos x="0" y="2"/>
                  </a:cxn>
                </a:cxnLst>
                <a:rect l="0" t="0" r="r" b="b"/>
                <a:pathLst>
                  <a:path w="70" h="4">
                    <a:moveTo>
                      <a:pt x="0" y="2"/>
                    </a:moveTo>
                    <a:lnTo>
                      <a:pt x="70" y="4"/>
                    </a:lnTo>
                    <a:lnTo>
                      <a:pt x="7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55" name="Freeform 3022"/>
              <p:cNvSpPr>
                <a:spLocks/>
              </p:cNvSpPr>
              <p:nvPr/>
            </p:nvSpPr>
            <p:spPr bwMode="auto">
              <a:xfrm>
                <a:off x="6977716" y="4087024"/>
                <a:ext cx="89985" cy="71988"/>
              </a:xfrm>
              <a:custGeom>
                <a:avLst/>
                <a:gdLst/>
                <a:ahLst/>
                <a:cxnLst>
                  <a:cxn ang="0">
                    <a:pos x="6" y="56"/>
                  </a:cxn>
                  <a:cxn ang="0">
                    <a:pos x="6" y="6"/>
                  </a:cxn>
                  <a:cxn ang="0">
                    <a:pos x="70" y="6"/>
                  </a:cxn>
                  <a:cxn ang="0">
                    <a:pos x="70" y="2"/>
                  </a:cxn>
                  <a:cxn ang="0">
                    <a:pos x="0" y="0"/>
                  </a:cxn>
                  <a:cxn ang="0">
                    <a:pos x="6" y="56"/>
                  </a:cxn>
                </a:cxnLst>
                <a:rect l="0" t="0" r="r" b="b"/>
                <a:pathLst>
                  <a:path w="70" h="56">
                    <a:moveTo>
                      <a:pt x="6" y="56"/>
                    </a:moveTo>
                    <a:lnTo>
                      <a:pt x="6" y="6"/>
                    </a:lnTo>
                    <a:lnTo>
                      <a:pt x="70" y="6"/>
                    </a:lnTo>
                    <a:lnTo>
                      <a:pt x="70" y="2"/>
                    </a:lnTo>
                    <a:lnTo>
                      <a:pt x="0" y="0"/>
                    </a:lnTo>
                    <a:lnTo>
                      <a:pt x="6" y="5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56" name="Freeform 3023"/>
              <p:cNvSpPr>
                <a:spLocks/>
              </p:cNvSpPr>
              <p:nvPr/>
            </p:nvSpPr>
            <p:spPr bwMode="auto">
              <a:xfrm>
                <a:off x="6566357" y="4141015"/>
                <a:ext cx="30852" cy="53991"/>
              </a:xfrm>
              <a:custGeom>
                <a:avLst/>
                <a:gdLst/>
                <a:ahLst/>
                <a:cxnLst>
                  <a:cxn ang="0">
                    <a:pos x="24" y="42"/>
                  </a:cxn>
                  <a:cxn ang="0">
                    <a:pos x="6" y="12"/>
                  </a:cxn>
                  <a:cxn ang="0">
                    <a:pos x="0" y="0"/>
                  </a:cxn>
                  <a:cxn ang="0">
                    <a:pos x="2" y="12"/>
                  </a:cxn>
                  <a:cxn ang="0">
                    <a:pos x="24" y="42"/>
                  </a:cxn>
                </a:cxnLst>
                <a:rect l="0" t="0" r="r" b="b"/>
                <a:pathLst>
                  <a:path w="24" h="42">
                    <a:moveTo>
                      <a:pt x="24" y="42"/>
                    </a:moveTo>
                    <a:lnTo>
                      <a:pt x="6" y="12"/>
                    </a:lnTo>
                    <a:lnTo>
                      <a:pt x="0" y="0"/>
                    </a:lnTo>
                    <a:lnTo>
                      <a:pt x="2" y="12"/>
                    </a:lnTo>
                    <a:lnTo>
                      <a:pt x="24" y="4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57" name="Freeform 3024"/>
              <p:cNvSpPr>
                <a:spLocks/>
              </p:cNvSpPr>
              <p:nvPr/>
            </p:nvSpPr>
            <p:spPr bwMode="auto">
              <a:xfrm>
                <a:off x="6214131" y="4166725"/>
                <a:ext cx="56562" cy="110553"/>
              </a:xfrm>
              <a:custGeom>
                <a:avLst/>
                <a:gdLst/>
                <a:ahLst/>
                <a:cxnLst>
                  <a:cxn ang="0">
                    <a:pos x="44" y="86"/>
                  </a:cxn>
                  <a:cxn ang="0">
                    <a:pos x="44" y="86"/>
                  </a:cxn>
                  <a:cxn ang="0">
                    <a:pos x="0" y="0"/>
                  </a:cxn>
                  <a:cxn ang="0">
                    <a:pos x="44" y="86"/>
                  </a:cxn>
                </a:cxnLst>
                <a:rect l="0" t="0" r="r" b="b"/>
                <a:pathLst>
                  <a:path w="44" h="86">
                    <a:moveTo>
                      <a:pt x="44" y="86"/>
                    </a:moveTo>
                    <a:lnTo>
                      <a:pt x="44" y="86"/>
                    </a:lnTo>
                    <a:lnTo>
                      <a:pt x="0" y="0"/>
                    </a:lnTo>
                    <a:lnTo>
                      <a:pt x="44" y="8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58" name="Freeform 3025"/>
              <p:cNvSpPr>
                <a:spLocks/>
              </p:cNvSpPr>
              <p:nvPr/>
            </p:nvSpPr>
            <p:spPr bwMode="auto">
              <a:xfrm>
                <a:off x="6391530" y="3454560"/>
                <a:ext cx="701881" cy="732732"/>
              </a:xfrm>
              <a:custGeom>
                <a:avLst/>
                <a:gdLst/>
                <a:ahLst/>
                <a:cxnLst>
                  <a:cxn ang="0">
                    <a:pos x="422" y="528"/>
                  </a:cxn>
                  <a:cxn ang="0">
                    <a:pos x="456" y="540"/>
                  </a:cxn>
                  <a:cxn ang="0">
                    <a:pos x="456" y="492"/>
                  </a:cxn>
                  <a:cxn ang="0">
                    <a:pos x="526" y="490"/>
                  </a:cxn>
                  <a:cxn ang="0">
                    <a:pos x="526" y="494"/>
                  </a:cxn>
                  <a:cxn ang="0">
                    <a:pos x="526" y="494"/>
                  </a:cxn>
                  <a:cxn ang="0">
                    <a:pos x="512" y="378"/>
                  </a:cxn>
                  <a:cxn ang="0">
                    <a:pos x="546" y="314"/>
                  </a:cxn>
                  <a:cxn ang="0">
                    <a:pos x="284" y="90"/>
                  </a:cxn>
                  <a:cxn ang="0">
                    <a:pos x="284" y="56"/>
                  </a:cxn>
                  <a:cxn ang="0">
                    <a:pos x="232" y="58"/>
                  </a:cxn>
                  <a:cxn ang="0">
                    <a:pos x="254" y="4"/>
                  </a:cxn>
                  <a:cxn ang="0">
                    <a:pos x="260" y="2"/>
                  </a:cxn>
                  <a:cxn ang="0">
                    <a:pos x="254" y="16"/>
                  </a:cxn>
                  <a:cxn ang="0">
                    <a:pos x="262" y="0"/>
                  </a:cxn>
                  <a:cxn ang="0">
                    <a:pos x="182" y="30"/>
                  </a:cxn>
                  <a:cxn ang="0">
                    <a:pos x="0" y="60"/>
                  </a:cxn>
                  <a:cxn ang="0">
                    <a:pos x="120" y="390"/>
                  </a:cxn>
                  <a:cxn ang="0">
                    <a:pos x="142" y="546"/>
                  </a:cxn>
                  <a:cxn ang="0">
                    <a:pos x="160" y="570"/>
                  </a:cxn>
                  <a:cxn ang="0">
                    <a:pos x="422" y="528"/>
                  </a:cxn>
                </a:cxnLst>
                <a:rect l="0" t="0" r="r" b="b"/>
                <a:pathLst>
                  <a:path w="546" h="570">
                    <a:moveTo>
                      <a:pt x="422" y="528"/>
                    </a:moveTo>
                    <a:lnTo>
                      <a:pt x="456" y="540"/>
                    </a:lnTo>
                    <a:lnTo>
                      <a:pt x="456" y="492"/>
                    </a:lnTo>
                    <a:lnTo>
                      <a:pt x="526" y="490"/>
                    </a:lnTo>
                    <a:lnTo>
                      <a:pt x="526" y="494"/>
                    </a:lnTo>
                    <a:lnTo>
                      <a:pt x="526" y="494"/>
                    </a:lnTo>
                    <a:lnTo>
                      <a:pt x="512" y="378"/>
                    </a:lnTo>
                    <a:lnTo>
                      <a:pt x="546" y="314"/>
                    </a:lnTo>
                    <a:lnTo>
                      <a:pt x="284" y="90"/>
                    </a:lnTo>
                    <a:lnTo>
                      <a:pt x="284" y="56"/>
                    </a:lnTo>
                    <a:lnTo>
                      <a:pt x="232" y="58"/>
                    </a:lnTo>
                    <a:lnTo>
                      <a:pt x="254" y="4"/>
                    </a:lnTo>
                    <a:lnTo>
                      <a:pt x="260" y="2"/>
                    </a:lnTo>
                    <a:lnTo>
                      <a:pt x="254" y="16"/>
                    </a:lnTo>
                    <a:lnTo>
                      <a:pt x="262" y="0"/>
                    </a:lnTo>
                    <a:lnTo>
                      <a:pt x="182" y="30"/>
                    </a:lnTo>
                    <a:lnTo>
                      <a:pt x="0" y="60"/>
                    </a:lnTo>
                    <a:lnTo>
                      <a:pt x="120" y="390"/>
                    </a:lnTo>
                    <a:lnTo>
                      <a:pt x="142" y="546"/>
                    </a:lnTo>
                    <a:lnTo>
                      <a:pt x="160" y="570"/>
                    </a:lnTo>
                    <a:lnTo>
                      <a:pt x="422" y="52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59" name="Freeform 3026"/>
              <p:cNvSpPr>
                <a:spLocks/>
              </p:cNvSpPr>
              <p:nvPr/>
            </p:nvSpPr>
            <p:spPr bwMode="auto">
              <a:xfrm>
                <a:off x="6214131" y="4089595"/>
                <a:ext cx="1190369" cy="856140"/>
              </a:xfrm>
              <a:custGeom>
                <a:avLst/>
                <a:gdLst/>
                <a:ahLst/>
                <a:cxnLst>
                  <a:cxn ang="0">
                    <a:pos x="896" y="342"/>
                  </a:cxn>
                  <a:cxn ang="0">
                    <a:pos x="808" y="232"/>
                  </a:cxn>
                  <a:cxn ang="0">
                    <a:pos x="808" y="182"/>
                  </a:cxn>
                  <a:cxn ang="0">
                    <a:pos x="668" y="20"/>
                  </a:cxn>
                  <a:cxn ang="0">
                    <a:pos x="664" y="0"/>
                  </a:cxn>
                  <a:cxn ang="0">
                    <a:pos x="664" y="0"/>
                  </a:cxn>
                  <a:cxn ang="0">
                    <a:pos x="664" y="4"/>
                  </a:cxn>
                  <a:cxn ang="0">
                    <a:pos x="600" y="4"/>
                  </a:cxn>
                  <a:cxn ang="0">
                    <a:pos x="600" y="54"/>
                  </a:cxn>
                  <a:cxn ang="0">
                    <a:pos x="558" y="40"/>
                  </a:cxn>
                  <a:cxn ang="0">
                    <a:pos x="298" y="82"/>
                  </a:cxn>
                  <a:cxn ang="0">
                    <a:pos x="276" y="52"/>
                  </a:cxn>
                  <a:cxn ang="0">
                    <a:pos x="274" y="40"/>
                  </a:cxn>
                  <a:cxn ang="0">
                    <a:pos x="0" y="60"/>
                  </a:cxn>
                  <a:cxn ang="0">
                    <a:pos x="44" y="146"/>
                  </a:cxn>
                  <a:cxn ang="0">
                    <a:pos x="132" y="108"/>
                  </a:cxn>
                  <a:cxn ang="0">
                    <a:pos x="242" y="154"/>
                  </a:cxn>
                  <a:cxn ang="0">
                    <a:pos x="242" y="192"/>
                  </a:cxn>
                  <a:cxn ang="0">
                    <a:pos x="298" y="192"/>
                  </a:cxn>
                  <a:cxn ang="0">
                    <a:pos x="380" y="128"/>
                  </a:cxn>
                  <a:cxn ang="0">
                    <a:pos x="558" y="206"/>
                  </a:cxn>
                  <a:cxn ang="0">
                    <a:pos x="558" y="368"/>
                  </a:cxn>
                  <a:cxn ang="0">
                    <a:pos x="598" y="382"/>
                  </a:cxn>
                  <a:cxn ang="0">
                    <a:pos x="638" y="478"/>
                  </a:cxn>
                  <a:cxn ang="0">
                    <a:pos x="776" y="584"/>
                  </a:cxn>
                  <a:cxn ang="0">
                    <a:pos x="776" y="626"/>
                  </a:cxn>
                  <a:cxn ang="0">
                    <a:pos x="830" y="666"/>
                  </a:cxn>
                  <a:cxn ang="0">
                    <a:pos x="886" y="610"/>
                  </a:cxn>
                  <a:cxn ang="0">
                    <a:pos x="916" y="610"/>
                  </a:cxn>
                  <a:cxn ang="0">
                    <a:pos x="926" y="518"/>
                  </a:cxn>
                  <a:cxn ang="0">
                    <a:pos x="896" y="342"/>
                  </a:cxn>
                </a:cxnLst>
                <a:rect l="0" t="0" r="r" b="b"/>
                <a:pathLst>
                  <a:path w="926" h="666">
                    <a:moveTo>
                      <a:pt x="896" y="342"/>
                    </a:moveTo>
                    <a:lnTo>
                      <a:pt x="808" y="232"/>
                    </a:lnTo>
                    <a:lnTo>
                      <a:pt x="808" y="182"/>
                    </a:lnTo>
                    <a:lnTo>
                      <a:pt x="668" y="20"/>
                    </a:lnTo>
                    <a:lnTo>
                      <a:pt x="664" y="0"/>
                    </a:lnTo>
                    <a:lnTo>
                      <a:pt x="664" y="0"/>
                    </a:lnTo>
                    <a:lnTo>
                      <a:pt x="664" y="4"/>
                    </a:lnTo>
                    <a:lnTo>
                      <a:pt x="600" y="4"/>
                    </a:lnTo>
                    <a:lnTo>
                      <a:pt x="600" y="54"/>
                    </a:lnTo>
                    <a:lnTo>
                      <a:pt x="558" y="40"/>
                    </a:lnTo>
                    <a:lnTo>
                      <a:pt x="298" y="82"/>
                    </a:lnTo>
                    <a:lnTo>
                      <a:pt x="276" y="52"/>
                    </a:lnTo>
                    <a:lnTo>
                      <a:pt x="274" y="40"/>
                    </a:lnTo>
                    <a:lnTo>
                      <a:pt x="0" y="60"/>
                    </a:lnTo>
                    <a:lnTo>
                      <a:pt x="44" y="146"/>
                    </a:lnTo>
                    <a:lnTo>
                      <a:pt x="132" y="108"/>
                    </a:lnTo>
                    <a:lnTo>
                      <a:pt x="242" y="154"/>
                    </a:lnTo>
                    <a:lnTo>
                      <a:pt x="242" y="192"/>
                    </a:lnTo>
                    <a:lnTo>
                      <a:pt x="298" y="192"/>
                    </a:lnTo>
                    <a:lnTo>
                      <a:pt x="380" y="128"/>
                    </a:lnTo>
                    <a:lnTo>
                      <a:pt x="558" y="206"/>
                    </a:lnTo>
                    <a:lnTo>
                      <a:pt x="558" y="368"/>
                    </a:lnTo>
                    <a:lnTo>
                      <a:pt x="598" y="382"/>
                    </a:lnTo>
                    <a:lnTo>
                      <a:pt x="638" y="478"/>
                    </a:lnTo>
                    <a:lnTo>
                      <a:pt x="776" y="584"/>
                    </a:lnTo>
                    <a:lnTo>
                      <a:pt x="776" y="626"/>
                    </a:lnTo>
                    <a:lnTo>
                      <a:pt x="830" y="666"/>
                    </a:lnTo>
                    <a:lnTo>
                      <a:pt x="886" y="610"/>
                    </a:lnTo>
                    <a:lnTo>
                      <a:pt x="916" y="610"/>
                    </a:lnTo>
                    <a:lnTo>
                      <a:pt x="926" y="518"/>
                    </a:lnTo>
                    <a:lnTo>
                      <a:pt x="896" y="34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60" name="Freeform 3027"/>
              <p:cNvSpPr>
                <a:spLocks/>
              </p:cNvSpPr>
              <p:nvPr/>
            </p:nvSpPr>
            <p:spPr bwMode="auto">
              <a:xfrm>
                <a:off x="7353080" y="1575166"/>
                <a:ext cx="131121" cy="460207"/>
              </a:xfrm>
              <a:custGeom>
                <a:avLst/>
                <a:gdLst/>
                <a:ahLst/>
                <a:cxnLst>
                  <a:cxn ang="0">
                    <a:pos x="40" y="1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38" y="132"/>
                  </a:cxn>
                  <a:cxn ang="0">
                    <a:pos x="102" y="358"/>
                  </a:cxn>
                  <a:cxn ang="0">
                    <a:pos x="80" y="276"/>
                  </a:cxn>
                  <a:cxn ang="0">
                    <a:pos x="40" y="132"/>
                  </a:cxn>
                </a:cxnLst>
                <a:rect l="0" t="0" r="r" b="b"/>
                <a:pathLst>
                  <a:path w="102" h="358">
                    <a:moveTo>
                      <a:pt x="40" y="13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38" y="132"/>
                    </a:lnTo>
                    <a:lnTo>
                      <a:pt x="102" y="358"/>
                    </a:lnTo>
                    <a:lnTo>
                      <a:pt x="80" y="276"/>
                    </a:lnTo>
                    <a:lnTo>
                      <a:pt x="40" y="13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61" name="Freeform 3028"/>
              <p:cNvSpPr>
                <a:spLocks/>
              </p:cNvSpPr>
              <p:nvPr/>
            </p:nvSpPr>
            <p:spPr bwMode="auto">
              <a:xfrm>
                <a:off x="7484201" y="2035373"/>
                <a:ext cx="79701" cy="17482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" y="84"/>
                  </a:cxn>
                  <a:cxn ang="0">
                    <a:pos x="62" y="136"/>
                  </a:cxn>
                  <a:cxn ang="0">
                    <a:pos x="12" y="82"/>
                  </a:cxn>
                  <a:cxn ang="0">
                    <a:pos x="0" y="0"/>
                  </a:cxn>
                </a:cxnLst>
                <a:rect l="0" t="0" r="r" b="b"/>
                <a:pathLst>
                  <a:path w="62" h="136">
                    <a:moveTo>
                      <a:pt x="0" y="0"/>
                    </a:moveTo>
                    <a:lnTo>
                      <a:pt x="10" y="84"/>
                    </a:lnTo>
                    <a:lnTo>
                      <a:pt x="62" y="136"/>
                    </a:lnTo>
                    <a:lnTo>
                      <a:pt x="12" y="8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62" name="Freeform 3029"/>
              <p:cNvSpPr>
                <a:spLocks/>
              </p:cNvSpPr>
              <p:nvPr/>
            </p:nvSpPr>
            <p:spPr bwMode="auto">
              <a:xfrm>
                <a:off x="6705191" y="2313040"/>
                <a:ext cx="97698" cy="2596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6"/>
                  </a:cxn>
                  <a:cxn ang="0">
                    <a:pos x="6" y="24"/>
                  </a:cxn>
                  <a:cxn ang="0">
                    <a:pos x="74" y="202"/>
                  </a:cxn>
                  <a:cxn ang="0">
                    <a:pos x="76" y="200"/>
                  </a:cxn>
                  <a:cxn ang="0">
                    <a:pos x="2" y="0"/>
                  </a:cxn>
                </a:cxnLst>
                <a:rect l="0" t="0" r="r" b="b"/>
                <a:pathLst>
                  <a:path w="76" h="202">
                    <a:moveTo>
                      <a:pt x="2" y="0"/>
                    </a:moveTo>
                    <a:lnTo>
                      <a:pt x="0" y="6"/>
                    </a:lnTo>
                    <a:lnTo>
                      <a:pt x="6" y="24"/>
                    </a:lnTo>
                    <a:lnTo>
                      <a:pt x="74" y="202"/>
                    </a:lnTo>
                    <a:lnTo>
                      <a:pt x="76" y="20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63" name="Freeform 3030"/>
              <p:cNvSpPr>
                <a:spLocks/>
              </p:cNvSpPr>
              <p:nvPr/>
            </p:nvSpPr>
            <p:spPr bwMode="auto">
              <a:xfrm>
                <a:off x="6661484" y="2585565"/>
                <a:ext cx="503914" cy="455065"/>
              </a:xfrm>
              <a:custGeom>
                <a:avLst/>
                <a:gdLst/>
                <a:ahLst/>
                <a:cxnLst>
                  <a:cxn ang="0">
                    <a:pos x="6" y="268"/>
                  </a:cxn>
                  <a:cxn ang="0">
                    <a:pos x="0" y="264"/>
                  </a:cxn>
                  <a:cxn ang="0">
                    <a:pos x="10" y="298"/>
                  </a:cxn>
                  <a:cxn ang="0">
                    <a:pos x="62" y="320"/>
                  </a:cxn>
                  <a:cxn ang="0">
                    <a:pos x="62" y="320"/>
                  </a:cxn>
                  <a:cxn ang="0">
                    <a:pos x="64" y="322"/>
                  </a:cxn>
                  <a:cxn ang="0">
                    <a:pos x="136" y="354"/>
                  </a:cxn>
                  <a:cxn ang="0">
                    <a:pos x="206" y="312"/>
                  </a:cxn>
                  <a:cxn ang="0">
                    <a:pos x="236" y="148"/>
                  </a:cxn>
                  <a:cxn ang="0">
                    <a:pos x="266" y="172"/>
                  </a:cxn>
                  <a:cxn ang="0">
                    <a:pos x="294" y="102"/>
                  </a:cxn>
                  <a:cxn ang="0">
                    <a:pos x="336" y="40"/>
                  </a:cxn>
                  <a:cxn ang="0">
                    <a:pos x="376" y="40"/>
                  </a:cxn>
                  <a:cxn ang="0">
                    <a:pos x="392" y="18"/>
                  </a:cxn>
                  <a:cxn ang="0">
                    <a:pos x="346" y="8"/>
                  </a:cxn>
                  <a:cxn ang="0">
                    <a:pos x="240" y="64"/>
                  </a:cxn>
                  <a:cxn ang="0">
                    <a:pos x="214" y="18"/>
                  </a:cxn>
                  <a:cxn ang="0">
                    <a:pos x="126" y="48"/>
                  </a:cxn>
                  <a:cxn ang="0">
                    <a:pos x="110" y="0"/>
                  </a:cxn>
                  <a:cxn ang="0">
                    <a:pos x="98" y="76"/>
                  </a:cxn>
                  <a:cxn ang="0">
                    <a:pos x="6" y="268"/>
                  </a:cxn>
                </a:cxnLst>
                <a:rect l="0" t="0" r="r" b="b"/>
                <a:pathLst>
                  <a:path w="392" h="354">
                    <a:moveTo>
                      <a:pt x="6" y="268"/>
                    </a:moveTo>
                    <a:lnTo>
                      <a:pt x="0" y="264"/>
                    </a:lnTo>
                    <a:lnTo>
                      <a:pt x="10" y="298"/>
                    </a:lnTo>
                    <a:lnTo>
                      <a:pt x="62" y="320"/>
                    </a:lnTo>
                    <a:lnTo>
                      <a:pt x="62" y="320"/>
                    </a:lnTo>
                    <a:lnTo>
                      <a:pt x="64" y="322"/>
                    </a:lnTo>
                    <a:lnTo>
                      <a:pt x="136" y="354"/>
                    </a:lnTo>
                    <a:lnTo>
                      <a:pt x="206" y="312"/>
                    </a:lnTo>
                    <a:lnTo>
                      <a:pt x="236" y="148"/>
                    </a:lnTo>
                    <a:lnTo>
                      <a:pt x="266" y="172"/>
                    </a:lnTo>
                    <a:lnTo>
                      <a:pt x="294" y="102"/>
                    </a:lnTo>
                    <a:lnTo>
                      <a:pt x="336" y="40"/>
                    </a:lnTo>
                    <a:lnTo>
                      <a:pt x="376" y="40"/>
                    </a:lnTo>
                    <a:lnTo>
                      <a:pt x="392" y="18"/>
                    </a:lnTo>
                    <a:lnTo>
                      <a:pt x="346" y="8"/>
                    </a:lnTo>
                    <a:lnTo>
                      <a:pt x="240" y="64"/>
                    </a:lnTo>
                    <a:lnTo>
                      <a:pt x="214" y="18"/>
                    </a:lnTo>
                    <a:lnTo>
                      <a:pt x="126" y="48"/>
                    </a:lnTo>
                    <a:lnTo>
                      <a:pt x="110" y="0"/>
                    </a:lnTo>
                    <a:lnTo>
                      <a:pt x="98" y="76"/>
                    </a:lnTo>
                    <a:lnTo>
                      <a:pt x="6" y="26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64" name="Freeform 3031"/>
              <p:cNvSpPr>
                <a:spLocks/>
              </p:cNvSpPr>
              <p:nvPr/>
            </p:nvSpPr>
            <p:spPr bwMode="auto">
              <a:xfrm>
                <a:off x="6661484" y="2922365"/>
                <a:ext cx="7713" cy="77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6" y="6"/>
                  </a:cxn>
                  <a:cxn ang="0">
                    <a:pos x="0" y="0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lnTo>
                      <a:pt x="0" y="2"/>
                    </a:lnTo>
                    <a:lnTo>
                      <a:pt x="6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65" name="Freeform 3032"/>
              <p:cNvSpPr>
                <a:spLocks/>
              </p:cNvSpPr>
              <p:nvPr/>
            </p:nvSpPr>
            <p:spPr bwMode="auto">
              <a:xfrm>
                <a:off x="6787462" y="2582994"/>
                <a:ext cx="15426" cy="100269"/>
              </a:xfrm>
              <a:custGeom>
                <a:avLst/>
                <a:gdLst/>
                <a:ahLst/>
                <a:cxnLst>
                  <a:cxn ang="0">
                    <a:pos x="0" y="78"/>
                  </a:cxn>
                  <a:cxn ang="0">
                    <a:pos x="12" y="2"/>
                  </a:cxn>
                  <a:cxn ang="0">
                    <a:pos x="10" y="0"/>
                  </a:cxn>
                  <a:cxn ang="0">
                    <a:pos x="0" y="78"/>
                  </a:cxn>
                </a:cxnLst>
                <a:rect l="0" t="0" r="r" b="b"/>
                <a:pathLst>
                  <a:path w="12" h="78">
                    <a:moveTo>
                      <a:pt x="0" y="78"/>
                    </a:moveTo>
                    <a:lnTo>
                      <a:pt x="12" y="2"/>
                    </a:lnTo>
                    <a:lnTo>
                      <a:pt x="10" y="0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66" name="Freeform 3033"/>
              <p:cNvSpPr>
                <a:spLocks/>
              </p:cNvSpPr>
              <p:nvPr/>
            </p:nvSpPr>
            <p:spPr bwMode="auto">
              <a:xfrm>
                <a:off x="6669197" y="2683263"/>
                <a:ext cx="118266" cy="246815"/>
              </a:xfrm>
              <a:custGeom>
                <a:avLst/>
                <a:gdLst/>
                <a:ahLst/>
                <a:cxnLst>
                  <a:cxn ang="0">
                    <a:pos x="58" y="60"/>
                  </a:cxn>
                  <a:cxn ang="0">
                    <a:pos x="0" y="192"/>
                  </a:cxn>
                  <a:cxn ang="0">
                    <a:pos x="92" y="0"/>
                  </a:cxn>
                  <a:cxn ang="0">
                    <a:pos x="58" y="60"/>
                  </a:cxn>
                </a:cxnLst>
                <a:rect l="0" t="0" r="r" b="b"/>
                <a:pathLst>
                  <a:path w="92" h="192">
                    <a:moveTo>
                      <a:pt x="58" y="60"/>
                    </a:moveTo>
                    <a:lnTo>
                      <a:pt x="0" y="192"/>
                    </a:lnTo>
                    <a:lnTo>
                      <a:pt x="92" y="0"/>
                    </a:lnTo>
                    <a:lnTo>
                      <a:pt x="58" y="6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67" name="Freeform 3034"/>
              <p:cNvSpPr>
                <a:spLocks/>
              </p:cNvSpPr>
              <p:nvPr/>
            </p:nvSpPr>
            <p:spPr bwMode="auto">
              <a:xfrm>
                <a:off x="6800317" y="2572711"/>
                <a:ext cx="2571" cy="7713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6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68" name="Freeform 3035"/>
              <p:cNvSpPr>
                <a:spLocks/>
              </p:cNvSpPr>
              <p:nvPr/>
            </p:nvSpPr>
            <p:spPr bwMode="auto">
              <a:xfrm>
                <a:off x="6286119" y="2315611"/>
                <a:ext cx="509056" cy="601612"/>
              </a:xfrm>
              <a:custGeom>
                <a:avLst/>
                <a:gdLst/>
                <a:ahLst/>
                <a:cxnLst>
                  <a:cxn ang="0">
                    <a:pos x="282" y="50"/>
                  </a:cxn>
                  <a:cxn ang="0">
                    <a:pos x="234" y="78"/>
                  </a:cxn>
                  <a:cxn ang="0">
                    <a:pos x="206" y="104"/>
                  </a:cxn>
                  <a:cxn ang="0">
                    <a:pos x="142" y="84"/>
                  </a:cxn>
                  <a:cxn ang="0">
                    <a:pos x="0" y="128"/>
                  </a:cxn>
                  <a:cxn ang="0">
                    <a:pos x="66" y="422"/>
                  </a:cxn>
                  <a:cxn ang="0">
                    <a:pos x="172" y="460"/>
                  </a:cxn>
                  <a:cxn ang="0">
                    <a:pos x="264" y="448"/>
                  </a:cxn>
                  <a:cxn ang="0">
                    <a:pos x="298" y="468"/>
                  </a:cxn>
                  <a:cxn ang="0">
                    <a:pos x="354" y="344"/>
                  </a:cxn>
                  <a:cxn ang="0">
                    <a:pos x="386" y="284"/>
                  </a:cxn>
                  <a:cxn ang="0">
                    <a:pos x="396" y="200"/>
                  </a:cxn>
                  <a:cxn ang="0">
                    <a:pos x="332" y="22"/>
                  </a:cxn>
                  <a:cxn ang="0">
                    <a:pos x="324" y="0"/>
                  </a:cxn>
                  <a:cxn ang="0">
                    <a:pos x="282" y="50"/>
                  </a:cxn>
                </a:cxnLst>
                <a:rect l="0" t="0" r="r" b="b"/>
                <a:pathLst>
                  <a:path w="396" h="468">
                    <a:moveTo>
                      <a:pt x="282" y="50"/>
                    </a:moveTo>
                    <a:lnTo>
                      <a:pt x="234" y="78"/>
                    </a:lnTo>
                    <a:lnTo>
                      <a:pt x="206" y="104"/>
                    </a:lnTo>
                    <a:lnTo>
                      <a:pt x="142" y="84"/>
                    </a:lnTo>
                    <a:lnTo>
                      <a:pt x="0" y="128"/>
                    </a:lnTo>
                    <a:lnTo>
                      <a:pt x="66" y="422"/>
                    </a:lnTo>
                    <a:lnTo>
                      <a:pt x="172" y="460"/>
                    </a:lnTo>
                    <a:lnTo>
                      <a:pt x="264" y="448"/>
                    </a:lnTo>
                    <a:lnTo>
                      <a:pt x="298" y="468"/>
                    </a:lnTo>
                    <a:lnTo>
                      <a:pt x="354" y="344"/>
                    </a:lnTo>
                    <a:lnTo>
                      <a:pt x="386" y="284"/>
                    </a:lnTo>
                    <a:lnTo>
                      <a:pt x="396" y="200"/>
                    </a:lnTo>
                    <a:lnTo>
                      <a:pt x="332" y="22"/>
                    </a:lnTo>
                    <a:lnTo>
                      <a:pt x="324" y="0"/>
                    </a:lnTo>
                    <a:lnTo>
                      <a:pt x="282" y="5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69" name="Freeform 3036"/>
              <p:cNvSpPr>
                <a:spLocks/>
              </p:cNvSpPr>
              <p:nvPr/>
            </p:nvSpPr>
            <p:spPr bwMode="auto">
              <a:xfrm>
                <a:off x="7353080" y="1575166"/>
                <a:ext cx="131121" cy="460207"/>
              </a:xfrm>
              <a:custGeom>
                <a:avLst/>
                <a:gdLst/>
                <a:ahLst/>
                <a:cxnLst>
                  <a:cxn ang="0">
                    <a:pos x="40" y="1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38" y="132"/>
                  </a:cxn>
                  <a:cxn ang="0">
                    <a:pos x="102" y="358"/>
                  </a:cxn>
                  <a:cxn ang="0">
                    <a:pos x="80" y="276"/>
                  </a:cxn>
                  <a:cxn ang="0">
                    <a:pos x="40" y="132"/>
                  </a:cxn>
                </a:cxnLst>
                <a:rect l="0" t="0" r="r" b="b"/>
                <a:pathLst>
                  <a:path w="102" h="358">
                    <a:moveTo>
                      <a:pt x="40" y="13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38" y="132"/>
                    </a:lnTo>
                    <a:lnTo>
                      <a:pt x="102" y="358"/>
                    </a:lnTo>
                    <a:lnTo>
                      <a:pt x="80" y="276"/>
                    </a:lnTo>
                    <a:lnTo>
                      <a:pt x="40" y="13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70" name="Freeform 3037"/>
              <p:cNvSpPr>
                <a:spLocks/>
              </p:cNvSpPr>
              <p:nvPr/>
            </p:nvSpPr>
            <p:spPr bwMode="auto">
              <a:xfrm>
                <a:off x="7484201" y="2035373"/>
                <a:ext cx="79701" cy="17482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" y="84"/>
                  </a:cxn>
                  <a:cxn ang="0">
                    <a:pos x="62" y="136"/>
                  </a:cxn>
                  <a:cxn ang="0">
                    <a:pos x="12" y="82"/>
                  </a:cxn>
                  <a:cxn ang="0">
                    <a:pos x="0" y="0"/>
                  </a:cxn>
                </a:cxnLst>
                <a:rect l="0" t="0" r="r" b="b"/>
                <a:pathLst>
                  <a:path w="62" h="136">
                    <a:moveTo>
                      <a:pt x="0" y="0"/>
                    </a:moveTo>
                    <a:lnTo>
                      <a:pt x="10" y="84"/>
                    </a:lnTo>
                    <a:lnTo>
                      <a:pt x="62" y="136"/>
                    </a:lnTo>
                    <a:lnTo>
                      <a:pt x="12" y="8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71" name="Freeform 3038"/>
              <p:cNvSpPr>
                <a:spLocks/>
              </p:cNvSpPr>
              <p:nvPr/>
            </p:nvSpPr>
            <p:spPr bwMode="auto">
              <a:xfrm>
                <a:off x="6815743" y="2122787"/>
                <a:ext cx="606754" cy="334229"/>
              </a:xfrm>
              <a:custGeom>
                <a:avLst/>
                <a:gdLst/>
                <a:ahLst/>
                <a:cxnLst>
                  <a:cxn ang="0">
                    <a:pos x="472" y="190"/>
                  </a:cxn>
                  <a:cxn ang="0">
                    <a:pos x="434" y="138"/>
                  </a:cxn>
                  <a:cxn ang="0">
                    <a:pos x="444" y="68"/>
                  </a:cxn>
                  <a:cxn ang="0">
                    <a:pos x="364" y="0"/>
                  </a:cxn>
                  <a:cxn ang="0">
                    <a:pos x="0" y="120"/>
                  </a:cxn>
                  <a:cxn ang="0">
                    <a:pos x="364" y="4"/>
                  </a:cxn>
                  <a:cxn ang="0">
                    <a:pos x="440" y="70"/>
                  </a:cxn>
                  <a:cxn ang="0">
                    <a:pos x="430" y="138"/>
                  </a:cxn>
                  <a:cxn ang="0">
                    <a:pos x="470" y="190"/>
                  </a:cxn>
                  <a:cxn ang="0">
                    <a:pos x="442" y="260"/>
                  </a:cxn>
                  <a:cxn ang="0">
                    <a:pos x="444" y="258"/>
                  </a:cxn>
                  <a:cxn ang="0">
                    <a:pos x="472" y="190"/>
                  </a:cxn>
                </a:cxnLst>
                <a:rect l="0" t="0" r="r" b="b"/>
                <a:pathLst>
                  <a:path w="472" h="260">
                    <a:moveTo>
                      <a:pt x="472" y="190"/>
                    </a:moveTo>
                    <a:lnTo>
                      <a:pt x="434" y="138"/>
                    </a:lnTo>
                    <a:lnTo>
                      <a:pt x="444" y="68"/>
                    </a:lnTo>
                    <a:lnTo>
                      <a:pt x="364" y="0"/>
                    </a:lnTo>
                    <a:lnTo>
                      <a:pt x="0" y="120"/>
                    </a:lnTo>
                    <a:lnTo>
                      <a:pt x="364" y="4"/>
                    </a:lnTo>
                    <a:lnTo>
                      <a:pt x="440" y="70"/>
                    </a:lnTo>
                    <a:lnTo>
                      <a:pt x="430" y="138"/>
                    </a:lnTo>
                    <a:lnTo>
                      <a:pt x="470" y="190"/>
                    </a:lnTo>
                    <a:lnTo>
                      <a:pt x="442" y="260"/>
                    </a:lnTo>
                    <a:lnTo>
                      <a:pt x="444" y="258"/>
                    </a:lnTo>
                    <a:lnTo>
                      <a:pt x="472" y="19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72" name="Freeform 3039"/>
              <p:cNvSpPr>
                <a:spLocks/>
              </p:cNvSpPr>
              <p:nvPr/>
            </p:nvSpPr>
            <p:spPr bwMode="auto">
              <a:xfrm>
                <a:off x="6792604" y="2127929"/>
                <a:ext cx="491059" cy="154259"/>
              </a:xfrm>
              <a:custGeom>
                <a:avLst/>
                <a:gdLst/>
                <a:ahLst/>
                <a:cxnLst>
                  <a:cxn ang="0">
                    <a:pos x="0" y="72"/>
                  </a:cxn>
                  <a:cxn ang="0">
                    <a:pos x="16" y="120"/>
                  </a:cxn>
                  <a:cxn ang="0">
                    <a:pos x="382" y="0"/>
                  </a:cxn>
                  <a:cxn ang="0">
                    <a:pos x="18" y="116"/>
                  </a:cxn>
                  <a:cxn ang="0">
                    <a:pos x="2" y="70"/>
                  </a:cxn>
                  <a:cxn ang="0">
                    <a:pos x="0" y="72"/>
                  </a:cxn>
                </a:cxnLst>
                <a:rect l="0" t="0" r="r" b="b"/>
                <a:pathLst>
                  <a:path w="382" h="120">
                    <a:moveTo>
                      <a:pt x="0" y="72"/>
                    </a:moveTo>
                    <a:lnTo>
                      <a:pt x="16" y="120"/>
                    </a:lnTo>
                    <a:lnTo>
                      <a:pt x="382" y="0"/>
                    </a:lnTo>
                    <a:lnTo>
                      <a:pt x="18" y="116"/>
                    </a:lnTo>
                    <a:lnTo>
                      <a:pt x="2" y="70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73" name="Freeform 3040"/>
              <p:cNvSpPr>
                <a:spLocks/>
              </p:cNvSpPr>
              <p:nvPr/>
            </p:nvSpPr>
            <p:spPr bwMode="auto">
              <a:xfrm>
                <a:off x="7345367" y="2457016"/>
                <a:ext cx="161972" cy="215963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62" y="168"/>
                  </a:cxn>
                  <a:cxn ang="0">
                    <a:pos x="126" y="142"/>
                  </a:cxn>
                  <a:cxn ang="0">
                    <a:pos x="126" y="80"/>
                  </a:cxn>
                  <a:cxn ang="0">
                    <a:pos x="30" y="2"/>
                  </a:cxn>
                  <a:cxn ang="0">
                    <a:pos x="30" y="0"/>
                  </a:cxn>
                  <a:cxn ang="0">
                    <a:pos x="0" y="10"/>
                  </a:cxn>
                </a:cxnLst>
                <a:rect l="0" t="0" r="r" b="b"/>
                <a:pathLst>
                  <a:path w="126" h="168">
                    <a:moveTo>
                      <a:pt x="0" y="10"/>
                    </a:moveTo>
                    <a:lnTo>
                      <a:pt x="62" y="168"/>
                    </a:lnTo>
                    <a:lnTo>
                      <a:pt x="126" y="142"/>
                    </a:lnTo>
                    <a:lnTo>
                      <a:pt x="126" y="80"/>
                    </a:lnTo>
                    <a:lnTo>
                      <a:pt x="30" y="2"/>
                    </a:lnTo>
                    <a:lnTo>
                      <a:pt x="3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74" name="Freeform 3041"/>
              <p:cNvSpPr>
                <a:spLocks/>
              </p:cNvSpPr>
              <p:nvPr/>
            </p:nvSpPr>
            <p:spPr bwMode="auto">
              <a:xfrm>
                <a:off x="6702620" y="2127929"/>
                <a:ext cx="717307" cy="511627"/>
              </a:xfrm>
              <a:custGeom>
                <a:avLst/>
                <a:gdLst/>
                <a:ahLst/>
                <a:cxnLst>
                  <a:cxn ang="0">
                    <a:pos x="528" y="66"/>
                  </a:cxn>
                  <a:cxn ang="0">
                    <a:pos x="452" y="0"/>
                  </a:cxn>
                  <a:cxn ang="0">
                    <a:pos x="86" y="120"/>
                  </a:cxn>
                  <a:cxn ang="0">
                    <a:pos x="70" y="72"/>
                  </a:cxn>
                  <a:cxn ang="0">
                    <a:pos x="72" y="70"/>
                  </a:cxn>
                  <a:cxn ang="0">
                    <a:pos x="88" y="116"/>
                  </a:cxn>
                  <a:cxn ang="0">
                    <a:pos x="72" y="64"/>
                  </a:cxn>
                  <a:cxn ang="0">
                    <a:pos x="0" y="146"/>
                  </a:cxn>
                  <a:cxn ang="0">
                    <a:pos x="8" y="168"/>
                  </a:cxn>
                  <a:cxn ang="0">
                    <a:pos x="2" y="150"/>
                  </a:cxn>
                  <a:cxn ang="0">
                    <a:pos x="4" y="144"/>
                  </a:cxn>
                  <a:cxn ang="0">
                    <a:pos x="78" y="344"/>
                  </a:cxn>
                  <a:cxn ang="0">
                    <a:pos x="76" y="346"/>
                  </a:cxn>
                  <a:cxn ang="0">
                    <a:pos x="78" y="348"/>
                  </a:cxn>
                  <a:cxn ang="0">
                    <a:pos x="96" y="398"/>
                  </a:cxn>
                  <a:cxn ang="0">
                    <a:pos x="182" y="372"/>
                  </a:cxn>
                  <a:cxn ang="0">
                    <a:pos x="180" y="372"/>
                  </a:cxn>
                  <a:cxn ang="0">
                    <a:pos x="498" y="262"/>
                  </a:cxn>
                  <a:cxn ang="0">
                    <a:pos x="498" y="262"/>
                  </a:cxn>
                  <a:cxn ang="0">
                    <a:pos x="498" y="262"/>
                  </a:cxn>
                  <a:cxn ang="0">
                    <a:pos x="528" y="252"/>
                  </a:cxn>
                  <a:cxn ang="0">
                    <a:pos x="558" y="186"/>
                  </a:cxn>
                  <a:cxn ang="0">
                    <a:pos x="518" y="134"/>
                  </a:cxn>
                  <a:cxn ang="0">
                    <a:pos x="528" y="66"/>
                  </a:cxn>
                </a:cxnLst>
                <a:rect l="0" t="0" r="r" b="b"/>
                <a:pathLst>
                  <a:path w="558" h="398">
                    <a:moveTo>
                      <a:pt x="528" y="66"/>
                    </a:moveTo>
                    <a:lnTo>
                      <a:pt x="452" y="0"/>
                    </a:lnTo>
                    <a:lnTo>
                      <a:pt x="86" y="120"/>
                    </a:lnTo>
                    <a:lnTo>
                      <a:pt x="70" y="72"/>
                    </a:lnTo>
                    <a:lnTo>
                      <a:pt x="72" y="70"/>
                    </a:lnTo>
                    <a:lnTo>
                      <a:pt x="88" y="116"/>
                    </a:lnTo>
                    <a:lnTo>
                      <a:pt x="72" y="64"/>
                    </a:lnTo>
                    <a:lnTo>
                      <a:pt x="0" y="146"/>
                    </a:lnTo>
                    <a:lnTo>
                      <a:pt x="8" y="168"/>
                    </a:lnTo>
                    <a:lnTo>
                      <a:pt x="2" y="150"/>
                    </a:lnTo>
                    <a:lnTo>
                      <a:pt x="4" y="144"/>
                    </a:lnTo>
                    <a:lnTo>
                      <a:pt x="78" y="344"/>
                    </a:lnTo>
                    <a:lnTo>
                      <a:pt x="76" y="346"/>
                    </a:lnTo>
                    <a:lnTo>
                      <a:pt x="78" y="348"/>
                    </a:lnTo>
                    <a:lnTo>
                      <a:pt x="96" y="398"/>
                    </a:lnTo>
                    <a:lnTo>
                      <a:pt x="182" y="372"/>
                    </a:lnTo>
                    <a:lnTo>
                      <a:pt x="180" y="372"/>
                    </a:lnTo>
                    <a:lnTo>
                      <a:pt x="498" y="262"/>
                    </a:lnTo>
                    <a:lnTo>
                      <a:pt x="498" y="262"/>
                    </a:lnTo>
                    <a:lnTo>
                      <a:pt x="498" y="262"/>
                    </a:lnTo>
                    <a:lnTo>
                      <a:pt x="528" y="252"/>
                    </a:lnTo>
                    <a:lnTo>
                      <a:pt x="558" y="186"/>
                    </a:lnTo>
                    <a:lnTo>
                      <a:pt x="518" y="134"/>
                    </a:lnTo>
                    <a:lnTo>
                      <a:pt x="528" y="6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75" name="Freeform 3042"/>
              <p:cNvSpPr>
                <a:spLocks/>
              </p:cNvSpPr>
              <p:nvPr/>
            </p:nvSpPr>
            <p:spPr bwMode="auto">
              <a:xfrm>
                <a:off x="7353080" y="1575166"/>
                <a:ext cx="131121" cy="460207"/>
              </a:xfrm>
              <a:custGeom>
                <a:avLst/>
                <a:gdLst/>
                <a:ahLst/>
                <a:cxnLst>
                  <a:cxn ang="0">
                    <a:pos x="40" y="1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38" y="132"/>
                  </a:cxn>
                  <a:cxn ang="0">
                    <a:pos x="102" y="358"/>
                  </a:cxn>
                  <a:cxn ang="0">
                    <a:pos x="80" y="276"/>
                  </a:cxn>
                  <a:cxn ang="0">
                    <a:pos x="40" y="132"/>
                  </a:cxn>
                </a:cxnLst>
                <a:rect l="0" t="0" r="r" b="b"/>
                <a:pathLst>
                  <a:path w="102" h="358">
                    <a:moveTo>
                      <a:pt x="40" y="13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38" y="132"/>
                    </a:lnTo>
                    <a:lnTo>
                      <a:pt x="102" y="358"/>
                    </a:lnTo>
                    <a:lnTo>
                      <a:pt x="80" y="276"/>
                    </a:lnTo>
                    <a:lnTo>
                      <a:pt x="40" y="13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76" name="Freeform 3043"/>
              <p:cNvSpPr>
                <a:spLocks/>
              </p:cNvSpPr>
              <p:nvPr/>
            </p:nvSpPr>
            <p:spPr bwMode="auto">
              <a:xfrm>
                <a:off x="7391645" y="2210201"/>
                <a:ext cx="95127" cy="23139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74" y="18"/>
                  </a:cxn>
                  <a:cxn ang="0">
                    <a:pos x="14" y="4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74" h="18">
                    <a:moveTo>
                      <a:pt x="0" y="2"/>
                    </a:moveTo>
                    <a:lnTo>
                      <a:pt x="74" y="18"/>
                    </a:lnTo>
                    <a:lnTo>
                      <a:pt x="14" y="4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77" name="Freeform 3044"/>
              <p:cNvSpPr>
                <a:spLocks/>
              </p:cNvSpPr>
              <p:nvPr/>
            </p:nvSpPr>
            <p:spPr bwMode="auto">
              <a:xfrm>
                <a:off x="7484201" y="2035373"/>
                <a:ext cx="79701" cy="17482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" y="84"/>
                  </a:cxn>
                  <a:cxn ang="0">
                    <a:pos x="62" y="136"/>
                  </a:cxn>
                  <a:cxn ang="0">
                    <a:pos x="12" y="82"/>
                  </a:cxn>
                  <a:cxn ang="0">
                    <a:pos x="0" y="0"/>
                  </a:cxn>
                </a:cxnLst>
                <a:rect l="0" t="0" r="r" b="b"/>
                <a:pathLst>
                  <a:path w="62" h="136">
                    <a:moveTo>
                      <a:pt x="0" y="0"/>
                    </a:moveTo>
                    <a:lnTo>
                      <a:pt x="10" y="84"/>
                    </a:lnTo>
                    <a:lnTo>
                      <a:pt x="62" y="136"/>
                    </a:lnTo>
                    <a:lnTo>
                      <a:pt x="12" y="8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78" name="Freeform 3045"/>
              <p:cNvSpPr>
                <a:spLocks/>
              </p:cNvSpPr>
              <p:nvPr/>
            </p:nvSpPr>
            <p:spPr bwMode="auto">
              <a:xfrm>
                <a:off x="7486772" y="2233340"/>
                <a:ext cx="64275" cy="17997"/>
              </a:xfrm>
              <a:custGeom>
                <a:avLst/>
                <a:gdLst/>
                <a:ahLst/>
                <a:cxnLst>
                  <a:cxn ang="0">
                    <a:pos x="50" y="12"/>
                  </a:cxn>
                  <a:cxn ang="0">
                    <a:pos x="0" y="0"/>
                  </a:cxn>
                  <a:cxn ang="0">
                    <a:pos x="50" y="14"/>
                  </a:cxn>
                  <a:cxn ang="0">
                    <a:pos x="50" y="12"/>
                  </a:cxn>
                </a:cxnLst>
                <a:rect l="0" t="0" r="r" b="b"/>
                <a:pathLst>
                  <a:path w="50" h="14">
                    <a:moveTo>
                      <a:pt x="50" y="12"/>
                    </a:moveTo>
                    <a:lnTo>
                      <a:pt x="0" y="0"/>
                    </a:lnTo>
                    <a:lnTo>
                      <a:pt x="50" y="14"/>
                    </a:lnTo>
                    <a:lnTo>
                      <a:pt x="50" y="1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79" name="Freeform 3046"/>
              <p:cNvSpPr>
                <a:spLocks/>
              </p:cNvSpPr>
              <p:nvPr/>
            </p:nvSpPr>
            <p:spPr bwMode="auto">
              <a:xfrm>
                <a:off x="7373648" y="2207630"/>
                <a:ext cx="177398" cy="344513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0" y="72"/>
                  </a:cxn>
                  <a:cxn ang="0">
                    <a:pos x="38" y="124"/>
                  </a:cxn>
                  <a:cxn ang="0">
                    <a:pos x="10" y="192"/>
                  </a:cxn>
                  <a:cxn ang="0">
                    <a:pos x="8" y="194"/>
                  </a:cxn>
                  <a:cxn ang="0">
                    <a:pos x="8" y="196"/>
                  </a:cxn>
                  <a:cxn ang="0">
                    <a:pos x="10" y="194"/>
                  </a:cxn>
                  <a:cxn ang="0">
                    <a:pos x="104" y="268"/>
                  </a:cxn>
                  <a:cxn ang="0">
                    <a:pos x="104" y="226"/>
                  </a:cxn>
                  <a:cxn ang="0">
                    <a:pos x="134" y="80"/>
                  </a:cxn>
                  <a:cxn ang="0">
                    <a:pos x="104" y="56"/>
                  </a:cxn>
                  <a:cxn ang="0">
                    <a:pos x="136" y="40"/>
                  </a:cxn>
                  <a:cxn ang="0">
                    <a:pos x="138" y="34"/>
                  </a:cxn>
                  <a:cxn ang="0">
                    <a:pos x="88" y="20"/>
                  </a:cxn>
                  <a:cxn ang="0">
                    <a:pos x="14" y="4"/>
                  </a:cxn>
                  <a:cxn ang="0">
                    <a:pos x="14" y="2"/>
                  </a:cxn>
                  <a:cxn ang="0">
                    <a:pos x="28" y="6"/>
                  </a:cxn>
                  <a:cxn ang="0">
                    <a:pos x="6" y="0"/>
                  </a:cxn>
                  <a:cxn ang="0">
                    <a:pos x="10" y="2"/>
                  </a:cxn>
                </a:cxnLst>
                <a:rect l="0" t="0" r="r" b="b"/>
                <a:pathLst>
                  <a:path w="138" h="268">
                    <a:moveTo>
                      <a:pt x="10" y="2"/>
                    </a:moveTo>
                    <a:lnTo>
                      <a:pt x="0" y="72"/>
                    </a:lnTo>
                    <a:lnTo>
                      <a:pt x="38" y="124"/>
                    </a:lnTo>
                    <a:lnTo>
                      <a:pt x="10" y="192"/>
                    </a:lnTo>
                    <a:lnTo>
                      <a:pt x="8" y="194"/>
                    </a:lnTo>
                    <a:lnTo>
                      <a:pt x="8" y="196"/>
                    </a:lnTo>
                    <a:lnTo>
                      <a:pt x="10" y="194"/>
                    </a:lnTo>
                    <a:lnTo>
                      <a:pt x="104" y="268"/>
                    </a:lnTo>
                    <a:lnTo>
                      <a:pt x="104" y="226"/>
                    </a:lnTo>
                    <a:lnTo>
                      <a:pt x="134" y="80"/>
                    </a:lnTo>
                    <a:lnTo>
                      <a:pt x="104" y="56"/>
                    </a:lnTo>
                    <a:lnTo>
                      <a:pt x="136" y="40"/>
                    </a:lnTo>
                    <a:lnTo>
                      <a:pt x="138" y="34"/>
                    </a:lnTo>
                    <a:lnTo>
                      <a:pt x="88" y="20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28" y="6"/>
                    </a:lnTo>
                    <a:lnTo>
                      <a:pt x="6" y="0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80" name="Freeform 3047"/>
              <p:cNvSpPr>
                <a:spLocks/>
              </p:cNvSpPr>
              <p:nvPr/>
            </p:nvSpPr>
            <p:spPr bwMode="auto">
              <a:xfrm>
                <a:off x="7484201" y="2035373"/>
                <a:ext cx="15426" cy="105411"/>
              </a:xfrm>
              <a:custGeom>
                <a:avLst/>
                <a:gdLst/>
                <a:ahLst/>
                <a:cxnLst>
                  <a:cxn ang="0">
                    <a:pos x="12" y="82"/>
                  </a:cxn>
                  <a:cxn ang="0">
                    <a:pos x="0" y="0"/>
                  </a:cxn>
                  <a:cxn ang="0">
                    <a:pos x="6" y="58"/>
                  </a:cxn>
                  <a:cxn ang="0">
                    <a:pos x="12" y="82"/>
                  </a:cxn>
                </a:cxnLst>
                <a:rect l="0" t="0" r="r" b="b"/>
                <a:pathLst>
                  <a:path w="12" h="82">
                    <a:moveTo>
                      <a:pt x="12" y="82"/>
                    </a:moveTo>
                    <a:lnTo>
                      <a:pt x="0" y="0"/>
                    </a:lnTo>
                    <a:lnTo>
                      <a:pt x="6" y="58"/>
                    </a:lnTo>
                    <a:lnTo>
                      <a:pt x="12" y="8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81" name="Freeform 3048"/>
              <p:cNvSpPr>
                <a:spLocks/>
              </p:cNvSpPr>
              <p:nvPr/>
            </p:nvSpPr>
            <p:spPr bwMode="auto">
              <a:xfrm>
                <a:off x="7353080" y="1575166"/>
                <a:ext cx="131121" cy="460207"/>
              </a:xfrm>
              <a:custGeom>
                <a:avLst/>
                <a:gdLst/>
                <a:ahLst/>
                <a:cxnLst>
                  <a:cxn ang="0">
                    <a:pos x="38" y="132"/>
                  </a:cxn>
                  <a:cxn ang="0">
                    <a:pos x="102" y="358"/>
                  </a:cxn>
                  <a:cxn ang="0">
                    <a:pos x="80" y="276"/>
                  </a:cxn>
                  <a:cxn ang="0">
                    <a:pos x="40" y="1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8" y="34"/>
                  </a:cxn>
                  <a:cxn ang="0">
                    <a:pos x="38" y="132"/>
                  </a:cxn>
                </a:cxnLst>
                <a:rect l="0" t="0" r="r" b="b"/>
                <a:pathLst>
                  <a:path w="102" h="358">
                    <a:moveTo>
                      <a:pt x="38" y="132"/>
                    </a:moveTo>
                    <a:lnTo>
                      <a:pt x="102" y="358"/>
                    </a:lnTo>
                    <a:lnTo>
                      <a:pt x="80" y="276"/>
                    </a:lnTo>
                    <a:lnTo>
                      <a:pt x="40" y="13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8" y="34"/>
                    </a:lnTo>
                    <a:lnTo>
                      <a:pt x="38" y="13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82" name="Freeform 3049"/>
              <p:cNvSpPr>
                <a:spLocks/>
              </p:cNvSpPr>
              <p:nvPr/>
            </p:nvSpPr>
            <p:spPr bwMode="auto">
              <a:xfrm>
                <a:off x="7353080" y="1575166"/>
                <a:ext cx="10284" cy="43707"/>
              </a:xfrm>
              <a:custGeom>
                <a:avLst/>
                <a:gdLst/>
                <a:ahLst/>
                <a:cxnLst>
                  <a:cxn ang="0">
                    <a:pos x="8" y="34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8" y="34"/>
                  </a:cxn>
                </a:cxnLst>
                <a:rect l="0" t="0" r="r" b="b"/>
                <a:pathLst>
                  <a:path w="8" h="34">
                    <a:moveTo>
                      <a:pt x="8" y="3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8" y="3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83" name="Freeform 3050"/>
              <p:cNvSpPr>
                <a:spLocks/>
              </p:cNvSpPr>
              <p:nvPr/>
            </p:nvSpPr>
            <p:spPr bwMode="auto">
              <a:xfrm>
                <a:off x="7499627" y="2140784"/>
                <a:ext cx="64275" cy="69417"/>
              </a:xfrm>
              <a:custGeom>
                <a:avLst/>
                <a:gdLst/>
                <a:ahLst/>
                <a:cxnLst>
                  <a:cxn ang="0">
                    <a:pos x="50" y="54"/>
                  </a:cxn>
                  <a:cxn ang="0">
                    <a:pos x="0" y="0"/>
                  </a:cxn>
                  <a:cxn ang="0">
                    <a:pos x="46" y="50"/>
                  </a:cxn>
                  <a:cxn ang="0">
                    <a:pos x="50" y="54"/>
                  </a:cxn>
                </a:cxnLst>
                <a:rect l="0" t="0" r="r" b="b"/>
                <a:pathLst>
                  <a:path w="50" h="54">
                    <a:moveTo>
                      <a:pt x="50" y="54"/>
                    </a:moveTo>
                    <a:lnTo>
                      <a:pt x="0" y="0"/>
                    </a:lnTo>
                    <a:lnTo>
                      <a:pt x="46" y="50"/>
                    </a:lnTo>
                    <a:lnTo>
                      <a:pt x="50" y="5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84" name="Freeform 3051"/>
              <p:cNvSpPr>
                <a:spLocks/>
              </p:cNvSpPr>
              <p:nvPr/>
            </p:nvSpPr>
            <p:spPr bwMode="auto">
              <a:xfrm>
                <a:off x="7491914" y="2109932"/>
                <a:ext cx="66846" cy="95127"/>
              </a:xfrm>
              <a:custGeom>
                <a:avLst/>
                <a:gdLst/>
                <a:ahLst/>
                <a:cxnLst>
                  <a:cxn ang="0">
                    <a:pos x="4" y="26"/>
                  </a:cxn>
                  <a:cxn ang="0">
                    <a:pos x="52" y="74"/>
                  </a:cxn>
                  <a:cxn ang="0">
                    <a:pos x="6" y="24"/>
                  </a:cxn>
                  <a:cxn ang="0">
                    <a:pos x="0" y="0"/>
                  </a:cxn>
                  <a:cxn ang="0">
                    <a:pos x="4" y="26"/>
                  </a:cxn>
                </a:cxnLst>
                <a:rect l="0" t="0" r="r" b="b"/>
                <a:pathLst>
                  <a:path w="52" h="74">
                    <a:moveTo>
                      <a:pt x="4" y="26"/>
                    </a:moveTo>
                    <a:lnTo>
                      <a:pt x="52" y="74"/>
                    </a:lnTo>
                    <a:lnTo>
                      <a:pt x="6" y="24"/>
                    </a:lnTo>
                    <a:lnTo>
                      <a:pt x="0" y="0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85" name="Line 3080"/>
              <p:cNvSpPr>
                <a:spLocks noChangeShapeType="1"/>
              </p:cNvSpPr>
              <p:nvPr/>
            </p:nvSpPr>
            <p:spPr bwMode="auto">
              <a:xfrm>
                <a:off x="4392075" y="5253314"/>
                <a:ext cx="1286" cy="1286"/>
              </a:xfrm>
              <a:prstGeom prst="line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86" name="Line 3117"/>
              <p:cNvSpPr>
                <a:spLocks noChangeShapeType="1"/>
              </p:cNvSpPr>
              <p:nvPr/>
            </p:nvSpPr>
            <p:spPr bwMode="auto">
              <a:xfrm>
                <a:off x="7481174" y="1552665"/>
                <a:ext cx="1286" cy="1286"/>
              </a:xfrm>
              <a:prstGeom prst="line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87" name="Line 3118"/>
              <p:cNvSpPr>
                <a:spLocks noChangeShapeType="1"/>
              </p:cNvSpPr>
              <p:nvPr/>
            </p:nvSpPr>
            <p:spPr bwMode="auto">
              <a:xfrm>
                <a:off x="7481174" y="1552665"/>
                <a:ext cx="1286" cy="1286"/>
              </a:xfrm>
              <a:prstGeom prst="line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88" name="Line 3119"/>
              <p:cNvSpPr>
                <a:spLocks noChangeShapeType="1"/>
              </p:cNvSpPr>
              <p:nvPr/>
            </p:nvSpPr>
            <p:spPr bwMode="auto">
              <a:xfrm>
                <a:off x="7419466" y="2298310"/>
                <a:ext cx="1286" cy="1286"/>
              </a:xfrm>
              <a:prstGeom prst="line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89" name="Line 3120"/>
              <p:cNvSpPr>
                <a:spLocks noChangeShapeType="1"/>
              </p:cNvSpPr>
              <p:nvPr/>
            </p:nvSpPr>
            <p:spPr bwMode="auto">
              <a:xfrm>
                <a:off x="7733151" y="2115755"/>
                <a:ext cx="1286" cy="1286"/>
              </a:xfrm>
              <a:prstGeom prst="line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</p:grpSp>
        <p:pic>
          <p:nvPicPr>
            <p:cNvPr id="65" name="Picture 6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84354" y="4344445"/>
              <a:ext cx="193296" cy="193296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8858" y="3437765"/>
              <a:ext cx="190168" cy="190168"/>
            </a:xfrm>
            <a:prstGeom prst="rect">
              <a:avLst/>
            </a:prstGeom>
          </p:spPr>
        </p:pic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29768" y="3942957"/>
              <a:ext cx="190168" cy="190168"/>
            </a:xfrm>
            <a:prstGeom prst="rect">
              <a:avLst/>
            </a:prstGeom>
          </p:spPr>
        </p:pic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46292" y="3424941"/>
              <a:ext cx="190168" cy="190168"/>
            </a:xfrm>
            <a:prstGeom prst="rect">
              <a:avLst/>
            </a:prstGeom>
          </p:spPr>
        </p:pic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60948" y="4116553"/>
              <a:ext cx="190168" cy="190168"/>
            </a:xfrm>
            <a:prstGeom prst="rect">
              <a:avLst/>
            </a:prstGeom>
          </p:spPr>
        </p:pic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51997" y="3693590"/>
              <a:ext cx="193296" cy="193296"/>
            </a:xfrm>
            <a:prstGeom prst="rect">
              <a:avLst/>
            </a:prstGeom>
          </p:spPr>
        </p:pic>
        <p:pic>
          <p:nvPicPr>
            <p:cNvPr id="71" name="Picture 7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44022" y="4703770"/>
              <a:ext cx="193296" cy="193296"/>
            </a:xfrm>
            <a:prstGeom prst="rect">
              <a:avLst/>
            </a:prstGeom>
          </p:spPr>
        </p:pic>
        <p:pic>
          <p:nvPicPr>
            <p:cNvPr id="72" name="Picture 7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13202" y="3243995"/>
              <a:ext cx="193296" cy="193296"/>
            </a:xfrm>
            <a:prstGeom prst="rect">
              <a:avLst/>
            </a:prstGeom>
          </p:spPr>
        </p:pic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5406" y="4332295"/>
              <a:ext cx="193296" cy="193296"/>
            </a:xfrm>
            <a:prstGeom prst="rect">
              <a:avLst/>
            </a:prstGeom>
          </p:spPr>
        </p:pic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6099" y="3593017"/>
              <a:ext cx="190168" cy="190168"/>
            </a:xfrm>
            <a:prstGeom prst="rect">
              <a:avLst/>
            </a:prstGeom>
          </p:spPr>
        </p:pic>
        <p:pic>
          <p:nvPicPr>
            <p:cNvPr id="75" name="Picture 7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91931" y="4677360"/>
              <a:ext cx="190168" cy="190168"/>
            </a:xfrm>
            <a:prstGeom prst="rect">
              <a:avLst/>
            </a:prstGeom>
          </p:spPr>
        </p:pic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93449" y="3813522"/>
              <a:ext cx="193296" cy="193296"/>
            </a:xfrm>
            <a:prstGeom prst="rect">
              <a:avLst/>
            </a:prstGeom>
          </p:spPr>
        </p:pic>
        <p:pic>
          <p:nvPicPr>
            <p:cNvPr id="77" name="Picture 7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80358" y="4257858"/>
              <a:ext cx="190168" cy="190168"/>
            </a:xfrm>
            <a:prstGeom prst="rect">
              <a:avLst/>
            </a:prstGeom>
          </p:spPr>
        </p:pic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2912" y="3904456"/>
              <a:ext cx="193296" cy="193296"/>
            </a:xfrm>
            <a:prstGeom prst="rect">
              <a:avLst/>
            </a:prstGeom>
          </p:spPr>
        </p:pic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20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297" name="Rectangle 296"/>
          <p:cNvSpPr/>
          <p:nvPr/>
        </p:nvSpPr>
        <p:spPr>
          <a:xfrm>
            <a:off x="413480" y="4970702"/>
            <a:ext cx="30083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</a:rPr>
              <a:t>An innovative approach centered around practice</a:t>
            </a:r>
          </a:p>
        </p:txBody>
      </p:sp>
      <p:sp>
        <p:nvSpPr>
          <p:cNvPr id="298" name="Rectangle 297"/>
          <p:cNvSpPr/>
          <p:nvPr/>
        </p:nvSpPr>
        <p:spPr>
          <a:xfrm>
            <a:off x="4537975" y="4968445"/>
            <a:ext cx="32118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</a:rPr>
              <a:t>A focus on student achievement and character </a:t>
            </a:r>
            <a:r>
              <a:rPr lang="en-US" dirty="0" smtClean="0">
                <a:solidFill>
                  <a:prstClr val="black"/>
                </a:solidFill>
                <a:latin typeface="Calibri" panose="020F0502020204030204" pitchFamily="34" charset="0"/>
              </a:rPr>
              <a:t>growth</a:t>
            </a:r>
            <a:endParaRPr lang="en-US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299" name="Rectangle 298"/>
          <p:cNvSpPr/>
          <p:nvPr/>
        </p:nvSpPr>
        <p:spPr>
          <a:xfrm>
            <a:off x="8610734" y="4973169"/>
            <a:ext cx="32566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</a:rPr>
              <a:t>A </a:t>
            </a:r>
            <a:r>
              <a:rPr lang="en-US" dirty="0" smtClean="0">
                <a:solidFill>
                  <a:prstClr val="black"/>
                </a:solidFill>
                <a:latin typeface="Calibri" panose="020F0502020204030204" pitchFamily="34" charset="0"/>
              </a:rPr>
              <a:t>growing network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</a:rPr>
              <a:t>of committed </a:t>
            </a:r>
            <a:r>
              <a:rPr lang="en-US" dirty="0" smtClean="0">
                <a:solidFill>
                  <a:prstClr val="black"/>
                </a:solidFill>
                <a:latin typeface="Calibri" panose="020F0502020204030204" pitchFamily="34" charset="0"/>
              </a:rPr>
              <a:t>teachers and school leaders</a:t>
            </a:r>
            <a:endParaRPr lang="en-US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pic>
        <p:nvPicPr>
          <p:cNvPr id="296" name="Picture 295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992267" y="2492179"/>
            <a:ext cx="2193019" cy="2181538"/>
          </a:xfrm>
          <a:prstGeom prst="ellipse">
            <a:avLst/>
          </a:prstGeom>
        </p:spPr>
      </p:pic>
      <p:pic>
        <p:nvPicPr>
          <p:cNvPr id="308" name="Picture 30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016" y="3377208"/>
            <a:ext cx="508991" cy="508991"/>
          </a:xfrm>
          <a:prstGeom prst="rect">
            <a:avLst/>
          </a:prstGeom>
          <a:solidFill>
            <a:schemeClr val="accent1"/>
          </a:solidFill>
        </p:spPr>
      </p:pic>
      <p:grpSp>
        <p:nvGrpSpPr>
          <p:cNvPr id="309" name="Group 308"/>
          <p:cNvGrpSpPr/>
          <p:nvPr/>
        </p:nvGrpSpPr>
        <p:grpSpPr>
          <a:xfrm>
            <a:off x="1523655" y="3241645"/>
            <a:ext cx="820512" cy="822960"/>
            <a:chOff x="10021956" y="275771"/>
            <a:chExt cx="820512" cy="822960"/>
          </a:xfrm>
          <a:solidFill>
            <a:schemeClr val="accent1"/>
          </a:solidFill>
        </p:grpSpPr>
        <p:sp>
          <p:nvSpPr>
            <p:cNvPr id="310" name="Oval 309"/>
            <p:cNvSpPr/>
            <p:nvPr/>
          </p:nvSpPr>
          <p:spPr>
            <a:xfrm>
              <a:off x="10021956" y="275771"/>
              <a:ext cx="820512" cy="82296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grpSp>
          <p:nvGrpSpPr>
            <p:cNvPr id="311" name="Group 310"/>
            <p:cNvGrpSpPr/>
            <p:nvPr/>
          </p:nvGrpSpPr>
          <p:grpSpPr>
            <a:xfrm>
              <a:off x="10175099" y="415951"/>
              <a:ext cx="589381" cy="559746"/>
              <a:chOff x="5675332" y="3055593"/>
              <a:chExt cx="911541" cy="865707"/>
            </a:xfrm>
            <a:grpFill/>
          </p:grpSpPr>
          <p:pic>
            <p:nvPicPr>
              <p:cNvPr id="312" name="Picture 311"/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7277"/>
              <a:stretch/>
            </p:blipFill>
            <p:spPr>
              <a:xfrm>
                <a:off x="5675332" y="3055593"/>
                <a:ext cx="764672" cy="479621"/>
              </a:xfrm>
              <a:prstGeom prst="rect">
                <a:avLst/>
              </a:prstGeom>
              <a:grpFill/>
            </p:spPr>
          </p:pic>
          <p:sp>
            <p:nvSpPr>
              <p:cNvPr id="313" name="Oval 312"/>
              <p:cNvSpPr/>
              <p:nvPr/>
            </p:nvSpPr>
            <p:spPr>
              <a:xfrm>
                <a:off x="5739166" y="3617031"/>
                <a:ext cx="109181" cy="109181"/>
              </a:xfrm>
              <a:prstGeom prst="ellipse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14" name="Chord 313"/>
              <p:cNvSpPr>
                <a:spLocks noChangeAspect="1"/>
              </p:cNvSpPr>
              <p:nvPr/>
            </p:nvSpPr>
            <p:spPr>
              <a:xfrm rot="6692439">
                <a:off x="5711844" y="3734475"/>
                <a:ext cx="169931" cy="169931"/>
              </a:xfrm>
              <a:prstGeom prst="chord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15" name="Oval 314"/>
              <p:cNvSpPr/>
              <p:nvPr/>
            </p:nvSpPr>
            <p:spPr>
              <a:xfrm>
                <a:off x="5915058" y="3617031"/>
                <a:ext cx="109181" cy="109181"/>
              </a:xfrm>
              <a:prstGeom prst="ellipse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16" name="Chord 315"/>
              <p:cNvSpPr>
                <a:spLocks noChangeAspect="1"/>
              </p:cNvSpPr>
              <p:nvPr/>
            </p:nvSpPr>
            <p:spPr>
              <a:xfrm rot="6692439">
                <a:off x="5887736" y="3734476"/>
                <a:ext cx="169931" cy="169931"/>
              </a:xfrm>
              <a:prstGeom prst="chord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17" name="Oval 316"/>
              <p:cNvSpPr/>
              <p:nvPr/>
            </p:nvSpPr>
            <p:spPr>
              <a:xfrm>
                <a:off x="6106226" y="3546756"/>
                <a:ext cx="144885" cy="144885"/>
              </a:xfrm>
              <a:prstGeom prst="ellipse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18" name="Chord 317"/>
              <p:cNvSpPr>
                <a:spLocks noChangeAspect="1"/>
              </p:cNvSpPr>
              <p:nvPr/>
            </p:nvSpPr>
            <p:spPr>
              <a:xfrm rot="6692439">
                <a:off x="6069970" y="3695799"/>
                <a:ext cx="225501" cy="225501"/>
              </a:xfrm>
              <a:prstGeom prst="chord">
                <a:avLst/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19" name="Oval Callout 318"/>
              <p:cNvSpPr/>
              <p:nvPr/>
            </p:nvSpPr>
            <p:spPr>
              <a:xfrm>
                <a:off x="6316909" y="3452522"/>
                <a:ext cx="269964" cy="197177"/>
              </a:xfrm>
              <a:prstGeom prst="wedgeEllipseCallout">
                <a:avLst>
                  <a:gd name="adj1" fmla="val -44127"/>
                  <a:gd name="adj2" fmla="val 56122"/>
                </a:avLst>
              </a:prstGeom>
              <a:grpFill/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06096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901378" y="6570928"/>
            <a:ext cx="2477858" cy="166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7" rIns="91431" bIns="45717" spcCol="0" rtlCol="0" anchor="ctr"/>
          <a:lstStyle/>
          <a:p>
            <a:pPr algn="ctr" defTabSz="914295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/>
          <p:nvPr/>
        </p:nvSpPr>
        <p:spPr>
          <a:xfrm>
            <a:off x="5" y="262324"/>
            <a:ext cx="3956585" cy="711200"/>
          </a:xfrm>
          <a:prstGeom prst="rect">
            <a:avLst/>
          </a:prstGeom>
          <a:solidFill>
            <a:srgbClr val="224A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7" rIns="91431" bIns="45717" rtlCol="0" anchor="ctr"/>
          <a:lstStyle/>
          <a:p>
            <a:pPr marL="115875" defTabSz="914295"/>
            <a:r>
              <a:rPr lang="en-US" sz="4400" dirty="0">
                <a:solidFill>
                  <a:prstClr val="white"/>
                </a:solidFill>
                <a:latin typeface="Calibri" panose="020F0502020204030204" pitchFamily="34" charset="0"/>
              </a:rPr>
              <a:t>Relay Program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04952" y="3117159"/>
            <a:ext cx="3674486" cy="2108263"/>
          </a:xfrm>
          <a:prstGeom prst="rect">
            <a:avLst/>
          </a:prstGeom>
          <a:noFill/>
        </p:spPr>
        <p:txBody>
          <a:bodyPr wrap="square" lIns="91431" tIns="45717" rIns="91431" bIns="45717" rtlCol="0">
            <a:spAutoFit/>
          </a:bodyPr>
          <a:lstStyle/>
          <a:p>
            <a:pPr marL="174606" indent="-174606" defTabSz="914295">
              <a:buFont typeface="Wingdings" panose="05000000000000000000" pitchFamily="2" charset="2"/>
              <a:buChar char="§"/>
            </a:pPr>
            <a:r>
              <a:rPr lang="en-US" sz="1500" dirty="0">
                <a:solidFill>
                  <a:prstClr val="black"/>
                </a:solidFill>
                <a:latin typeface="Calibri" panose="020F0502020204030204" pitchFamily="34" charset="0"/>
              </a:rPr>
              <a:t>Relay Teaching Residency</a:t>
            </a:r>
          </a:p>
          <a:p>
            <a:pPr marL="174606" lvl="1" defTabSz="914295">
              <a:spcAft>
                <a:spcPts val="1200"/>
              </a:spcAft>
            </a:pPr>
            <a:r>
              <a:rPr lang="en-US" sz="1300" dirty="0">
                <a:solidFill>
                  <a:srgbClr val="81848A">
                    <a:lumMod val="75000"/>
                  </a:srgbClr>
                </a:solidFill>
                <a:latin typeface="Calibri" panose="020F0502020204030204" pitchFamily="34" charset="0"/>
              </a:rPr>
              <a:t>A gradual on-ramp </a:t>
            </a:r>
            <a:r>
              <a:rPr lang="en-US" sz="1300" dirty="0" smtClean="0">
                <a:solidFill>
                  <a:srgbClr val="81848A">
                    <a:lumMod val="75000"/>
                  </a:srgbClr>
                </a:solidFill>
                <a:latin typeface="Calibri" panose="020F0502020204030204" pitchFamily="34" charset="0"/>
              </a:rPr>
              <a:t>into </a:t>
            </a:r>
            <a:r>
              <a:rPr lang="en-US" sz="1300" dirty="0">
                <a:solidFill>
                  <a:srgbClr val="81848A">
                    <a:lumMod val="75000"/>
                  </a:srgbClr>
                </a:solidFill>
                <a:latin typeface="Calibri" panose="020F0502020204030204" pitchFamily="34" charset="0"/>
              </a:rPr>
              <a:t>the teaching profession </a:t>
            </a:r>
            <a:r>
              <a:rPr lang="en-US" sz="1300" dirty="0" smtClean="0">
                <a:solidFill>
                  <a:srgbClr val="81848A">
                    <a:lumMod val="75000"/>
                  </a:srgbClr>
                </a:solidFill>
                <a:latin typeface="Calibri" panose="020F0502020204030204" pitchFamily="34" charset="0"/>
              </a:rPr>
              <a:t>through a </a:t>
            </a:r>
            <a:r>
              <a:rPr lang="en-US" sz="1300" dirty="0">
                <a:solidFill>
                  <a:srgbClr val="81848A">
                    <a:lumMod val="75000"/>
                  </a:srgbClr>
                </a:solidFill>
                <a:latin typeface="Calibri" panose="020F0502020204030204" pitchFamily="34" charset="0"/>
              </a:rPr>
              <a:t>structured </a:t>
            </a:r>
            <a:r>
              <a:rPr lang="en-US" sz="1300" dirty="0" smtClean="0">
                <a:solidFill>
                  <a:srgbClr val="81848A">
                    <a:lumMod val="75000"/>
                  </a:srgbClr>
                </a:solidFill>
                <a:latin typeface="Calibri" panose="020F0502020204030204" pitchFamily="34" charset="0"/>
              </a:rPr>
              <a:t>apprenticeship with extra opportunities for deliberate practice</a:t>
            </a:r>
            <a:endParaRPr lang="en-US" sz="1300" dirty="0">
              <a:solidFill>
                <a:srgbClr val="81848A">
                  <a:lumMod val="75000"/>
                </a:srgbClr>
              </a:solidFill>
              <a:latin typeface="Calibri" panose="020F0502020204030204" pitchFamily="34" charset="0"/>
            </a:endParaRPr>
          </a:p>
          <a:p>
            <a:pPr marL="174606" indent="-174606" defTabSz="914295">
              <a:buFont typeface="Wingdings" panose="05000000000000000000" pitchFamily="2" charset="2"/>
              <a:buChar char="§"/>
            </a:pPr>
            <a:r>
              <a:rPr lang="en-US" sz="1500" dirty="0" smtClean="0">
                <a:solidFill>
                  <a:prstClr val="black"/>
                </a:solidFill>
                <a:latin typeface="Calibri" panose="020F0502020204030204" pitchFamily="34" charset="0"/>
              </a:rPr>
              <a:t>Teacher </a:t>
            </a:r>
            <a:r>
              <a:rPr lang="en-US" sz="1500" dirty="0">
                <a:solidFill>
                  <a:prstClr val="black"/>
                </a:solidFill>
                <a:latin typeface="Calibri" panose="020F0502020204030204" pitchFamily="34" charset="0"/>
              </a:rPr>
              <a:t>Pathways</a:t>
            </a:r>
          </a:p>
          <a:p>
            <a:pPr marL="174606" lvl="1" defTabSz="914295"/>
            <a:r>
              <a:rPr lang="en-US" sz="1300" dirty="0">
                <a:solidFill>
                  <a:srgbClr val="81848A">
                    <a:lumMod val="75000"/>
                  </a:srgbClr>
                </a:solidFill>
                <a:latin typeface="Calibri" panose="020F0502020204030204" pitchFamily="34" charset="0"/>
              </a:rPr>
              <a:t>New programs to engage undergrads in hands-on experiences that </a:t>
            </a:r>
            <a:r>
              <a:rPr lang="en-US" sz="1300" dirty="0" smtClean="0">
                <a:solidFill>
                  <a:srgbClr val="81848A">
                    <a:lumMod val="75000"/>
                  </a:srgbClr>
                </a:solidFill>
                <a:latin typeface="Calibri" panose="020F0502020204030204" pitchFamily="34" charset="0"/>
              </a:rPr>
              <a:t>ignite interest in </a:t>
            </a:r>
            <a:r>
              <a:rPr lang="en-US" sz="1300" dirty="0">
                <a:solidFill>
                  <a:srgbClr val="81848A">
                    <a:lumMod val="75000"/>
                  </a:srgbClr>
                </a:solidFill>
                <a:latin typeface="Calibri" panose="020F0502020204030204" pitchFamily="34" charset="0"/>
              </a:rPr>
              <a:t>teaching; </a:t>
            </a:r>
            <a:r>
              <a:rPr lang="en-US" sz="1300" dirty="0" smtClean="0">
                <a:solidFill>
                  <a:srgbClr val="81848A">
                    <a:lumMod val="75000"/>
                  </a:srgbClr>
                </a:solidFill>
                <a:latin typeface="Calibri" panose="020F0502020204030204" pitchFamily="34" charset="0"/>
              </a:rPr>
              <a:t>in Houston this includes</a:t>
            </a:r>
            <a:r>
              <a:rPr lang="en-US" sz="1300" dirty="0">
                <a:solidFill>
                  <a:srgbClr val="81848A">
                    <a:lumMod val="75000"/>
                  </a:srgbClr>
                </a:solidFill>
                <a:latin typeface="Calibri" panose="020F0502020204030204" pitchFamily="34" charset="0"/>
              </a:rPr>
              <a:t> </a:t>
            </a:r>
            <a:r>
              <a:rPr lang="en-US" sz="1300" dirty="0" smtClean="0">
                <a:solidFill>
                  <a:srgbClr val="81848A">
                    <a:lumMod val="75000"/>
                  </a:srgbClr>
                </a:solidFill>
                <a:latin typeface="Calibri" panose="020F0502020204030204" pitchFamily="34" charset="0"/>
              </a:rPr>
              <a:t>the Relay </a:t>
            </a:r>
            <a:r>
              <a:rPr lang="en-US" sz="1300" dirty="0">
                <a:solidFill>
                  <a:srgbClr val="81848A">
                    <a:lumMod val="75000"/>
                  </a:srgbClr>
                </a:solidFill>
                <a:latin typeface="Calibri" panose="020F0502020204030204" pitchFamily="34" charset="0"/>
              </a:rPr>
              <a:t>Tutor </a:t>
            </a:r>
            <a:r>
              <a:rPr lang="en-US" sz="1300" dirty="0" smtClean="0">
                <a:solidFill>
                  <a:srgbClr val="81848A">
                    <a:lumMod val="75000"/>
                  </a:srgbClr>
                </a:solidFill>
                <a:latin typeface="Calibri" panose="020F0502020204030204" pitchFamily="34" charset="0"/>
              </a:rPr>
              <a:t>Corps, a semester-long structured tutoring program </a:t>
            </a:r>
            <a:endParaRPr lang="en-US" sz="1300" dirty="0">
              <a:solidFill>
                <a:srgbClr val="81848A">
                  <a:lumMod val="7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956590" y="3092815"/>
            <a:ext cx="3902001" cy="2785372"/>
          </a:xfrm>
          <a:prstGeom prst="rect">
            <a:avLst/>
          </a:prstGeom>
          <a:noFill/>
        </p:spPr>
        <p:txBody>
          <a:bodyPr wrap="square" lIns="91431" tIns="45717" rIns="91431" bIns="45717" rtlCol="0">
            <a:spAutoFit/>
          </a:bodyPr>
          <a:lstStyle/>
          <a:p>
            <a:pPr marL="174606" indent="-174606" defTabSz="914295">
              <a:buFont typeface="Wingdings" panose="05000000000000000000" pitchFamily="2" charset="2"/>
              <a:buChar char="§"/>
            </a:pPr>
            <a:r>
              <a:rPr lang="en-US" sz="1500" dirty="0">
                <a:solidFill>
                  <a:prstClr val="black"/>
                </a:solidFill>
                <a:latin typeface="Calibri" panose="020F0502020204030204" pitchFamily="34" charset="0"/>
              </a:rPr>
              <a:t>Master of Arts in Teaching</a:t>
            </a:r>
          </a:p>
          <a:p>
            <a:pPr marL="174606" lvl="1" defTabSz="914295">
              <a:spcAft>
                <a:spcPts val="1200"/>
              </a:spcAft>
            </a:pPr>
            <a:r>
              <a:rPr lang="en-US" sz="1300" dirty="0" smtClean="0">
                <a:solidFill>
                  <a:srgbClr val="81848A">
                    <a:lumMod val="75000"/>
                  </a:srgbClr>
                </a:solidFill>
                <a:latin typeface="Calibri" panose="020F0502020204030204" pitchFamily="34" charset="0"/>
              </a:rPr>
              <a:t>A two-year degree program focused on practical skills that prepare candidates to effectively support PK-12 students </a:t>
            </a:r>
          </a:p>
          <a:p>
            <a:pPr marL="174606" indent="-174606" defTabSz="914295">
              <a:buFont typeface="Wingdings" panose="05000000000000000000" pitchFamily="2" charset="2"/>
              <a:buChar char="§"/>
            </a:pPr>
            <a:r>
              <a:rPr lang="en-US" sz="1500" dirty="0" smtClean="0">
                <a:solidFill>
                  <a:prstClr val="black"/>
                </a:solidFill>
                <a:latin typeface="Calibri" panose="020F0502020204030204" pitchFamily="34" charset="0"/>
              </a:rPr>
              <a:t>Alternate Route Certification</a:t>
            </a:r>
          </a:p>
          <a:p>
            <a:pPr marL="174606" lvl="1" defTabSz="914295">
              <a:spcAft>
                <a:spcPts val="1200"/>
              </a:spcAft>
            </a:pPr>
            <a:r>
              <a:rPr lang="en-US" sz="1300" dirty="0" smtClean="0">
                <a:solidFill>
                  <a:srgbClr val="81848A">
                    <a:lumMod val="75000"/>
                  </a:srgbClr>
                </a:solidFill>
                <a:latin typeface="Calibri" panose="020F0502020204030204" pitchFamily="34" charset="0"/>
              </a:rPr>
              <a:t>A one-year program for new teachers and career changers seeking  state certification</a:t>
            </a:r>
            <a:endParaRPr lang="en-US" sz="1300" dirty="0">
              <a:solidFill>
                <a:srgbClr val="81848A">
                  <a:lumMod val="75000"/>
                </a:srgbClr>
              </a:solidFill>
              <a:latin typeface="Calibri" panose="020F0502020204030204" pitchFamily="34" charset="0"/>
            </a:endParaRPr>
          </a:p>
          <a:p>
            <a:pPr marL="174606" lvl="1" indent="-174606" defTabSz="914295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500" dirty="0">
                <a:solidFill>
                  <a:prstClr val="black"/>
                </a:solidFill>
                <a:latin typeface="Calibri" panose="020F0502020204030204" pitchFamily="34" charset="0"/>
              </a:rPr>
              <a:t>Accelerated Master of Arts in </a:t>
            </a:r>
            <a:r>
              <a:rPr lang="en-US" sz="1500" dirty="0" smtClean="0">
                <a:solidFill>
                  <a:prstClr val="black"/>
                </a:solidFill>
                <a:latin typeface="Calibri" panose="020F0502020204030204" pitchFamily="34" charset="0"/>
              </a:rPr>
              <a:t>Teaching</a:t>
            </a:r>
            <a:br>
              <a:rPr lang="en-US" sz="1500" dirty="0" smtClean="0">
                <a:solidFill>
                  <a:prstClr val="black"/>
                </a:solidFill>
                <a:latin typeface="Calibri" panose="020F0502020204030204" pitchFamily="34" charset="0"/>
              </a:rPr>
            </a:br>
            <a:r>
              <a:rPr lang="en-US" sz="1300" dirty="0">
                <a:solidFill>
                  <a:srgbClr val="81848A">
                    <a:lumMod val="75000"/>
                  </a:srgbClr>
                </a:solidFill>
                <a:latin typeface="Calibri" panose="020F0502020204030204" pitchFamily="34" charset="0"/>
              </a:rPr>
              <a:t>A one-year program for experienced teachers looking to grow their impact and earn an advanced degree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121885" y="3103876"/>
            <a:ext cx="3733784" cy="1354211"/>
          </a:xfrm>
          <a:prstGeom prst="rect">
            <a:avLst/>
          </a:prstGeom>
          <a:noFill/>
        </p:spPr>
        <p:txBody>
          <a:bodyPr wrap="square" lIns="91431" tIns="45717" rIns="91431" bIns="45717" rtlCol="0">
            <a:spAutoFit/>
          </a:bodyPr>
          <a:lstStyle/>
          <a:p>
            <a:pPr marL="174606" indent="-174606" defTabSz="914295">
              <a:buFont typeface="Wingdings" panose="05000000000000000000" pitchFamily="2" charset="2"/>
              <a:buChar char="§"/>
            </a:pPr>
            <a:r>
              <a:rPr lang="en-US" sz="1500" dirty="0">
                <a:solidFill>
                  <a:prstClr val="black"/>
                </a:solidFill>
                <a:latin typeface="Calibri" panose="020F0502020204030204" pitchFamily="34" charset="0"/>
              </a:rPr>
              <a:t>National Principals Academy </a:t>
            </a:r>
            <a:r>
              <a:rPr lang="en-US" sz="1500" dirty="0" smtClean="0">
                <a:solidFill>
                  <a:prstClr val="black"/>
                </a:solidFill>
                <a:latin typeface="Calibri" panose="020F0502020204030204" pitchFamily="34" charset="0"/>
              </a:rPr>
              <a:t> &amp; National Principal Supervisors Academy</a:t>
            </a:r>
          </a:p>
          <a:p>
            <a:pPr marL="174606" lvl="1" defTabSz="914295">
              <a:spcAft>
                <a:spcPts val="1000"/>
              </a:spcAft>
            </a:pPr>
            <a:r>
              <a:rPr lang="en-US" sz="1300" dirty="0" smtClean="0">
                <a:solidFill>
                  <a:srgbClr val="81848A">
                    <a:lumMod val="75000"/>
                  </a:srgbClr>
                </a:solidFill>
                <a:latin typeface="Calibri" panose="020F0502020204030204" pitchFamily="34" charset="0"/>
              </a:rPr>
              <a:t>A practical one-year fellowship program focused on high-leverage instructional leadership that includes differentiated tracks for principals and  principal supervisors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945502" y="2746010"/>
            <a:ext cx="2018807" cy="338548"/>
          </a:xfrm>
          <a:prstGeom prst="rect">
            <a:avLst/>
          </a:prstGeom>
          <a:noFill/>
        </p:spPr>
        <p:txBody>
          <a:bodyPr wrap="square" lIns="91431" tIns="45717" rIns="91431" bIns="45717" rtlCol="0">
            <a:spAutoFit/>
          </a:bodyPr>
          <a:lstStyle/>
          <a:p>
            <a:pPr algn="ctr" defTabSz="914295"/>
            <a:r>
              <a:rPr lang="en-US" sz="1600" dirty="0" smtClean="0">
                <a:solidFill>
                  <a:srgbClr val="234B8D"/>
                </a:solidFill>
                <a:latin typeface="Calibri" panose="020F0502020204030204" pitchFamily="34" charset="0"/>
              </a:rPr>
              <a:t>ASPIRING </a:t>
            </a:r>
            <a:r>
              <a:rPr lang="en-US" sz="1600" dirty="0">
                <a:solidFill>
                  <a:srgbClr val="234B8D"/>
                </a:solidFill>
                <a:latin typeface="Calibri" panose="020F0502020204030204" pitchFamily="34" charset="0"/>
              </a:rPr>
              <a:t>TEACHER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772526" y="2737045"/>
            <a:ext cx="2194584" cy="338548"/>
          </a:xfrm>
          <a:prstGeom prst="rect">
            <a:avLst/>
          </a:prstGeom>
          <a:noFill/>
        </p:spPr>
        <p:txBody>
          <a:bodyPr wrap="square" lIns="91431" tIns="45717" rIns="91431" bIns="45717" rtlCol="0">
            <a:spAutoFit/>
          </a:bodyPr>
          <a:lstStyle/>
          <a:p>
            <a:pPr algn="ctr" defTabSz="914295"/>
            <a:r>
              <a:rPr lang="en-US" sz="1600" dirty="0">
                <a:solidFill>
                  <a:srgbClr val="234B8D"/>
                </a:solidFill>
                <a:latin typeface="Calibri" panose="020F0502020204030204" pitchFamily="34" charset="0"/>
              </a:rPr>
              <a:t>CURRENT TEACHERS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649720" y="2746010"/>
            <a:ext cx="2304443" cy="338548"/>
          </a:xfrm>
          <a:prstGeom prst="rect">
            <a:avLst/>
          </a:prstGeom>
          <a:noFill/>
        </p:spPr>
        <p:txBody>
          <a:bodyPr wrap="square" lIns="91431" tIns="45717" rIns="91431" bIns="45717" rtlCol="0">
            <a:spAutoFit/>
          </a:bodyPr>
          <a:lstStyle/>
          <a:p>
            <a:pPr algn="ctr" defTabSz="914295"/>
            <a:r>
              <a:rPr lang="en-US" sz="1600" dirty="0">
                <a:solidFill>
                  <a:srgbClr val="234B8D"/>
                </a:solidFill>
                <a:latin typeface="Calibri" panose="020F0502020204030204" pitchFamily="34" charset="0"/>
              </a:rPr>
              <a:t>SCHOOL LEADERS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3879438" y="1263714"/>
            <a:ext cx="0" cy="5307208"/>
          </a:xfrm>
          <a:prstGeom prst="line">
            <a:avLst/>
          </a:prstGeom>
          <a:ln>
            <a:solidFill>
              <a:schemeClr val="accent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7858592" y="1263717"/>
            <a:ext cx="10633" cy="5390455"/>
          </a:xfrm>
          <a:prstGeom prst="line">
            <a:avLst/>
          </a:prstGeom>
          <a:ln>
            <a:solidFill>
              <a:schemeClr val="accent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val 30"/>
          <p:cNvSpPr/>
          <p:nvPr/>
        </p:nvSpPr>
        <p:spPr>
          <a:xfrm>
            <a:off x="1367254" y="1349105"/>
            <a:ext cx="1188720" cy="11887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7" rIns="91431" bIns="45717" rtlCol="0" anchor="ctr"/>
          <a:lstStyle/>
          <a:p>
            <a:pPr algn="ctr" defTabSz="914295"/>
            <a:endParaRPr lang="en-US">
              <a:solidFill>
                <a:prstClr val="white"/>
              </a:solidFill>
            </a:endParaRPr>
          </a:p>
        </p:txBody>
      </p:sp>
      <p:sp>
        <p:nvSpPr>
          <p:cNvPr id="32" name="Oval 31"/>
          <p:cNvSpPr/>
          <p:nvPr/>
        </p:nvSpPr>
        <p:spPr>
          <a:xfrm>
            <a:off x="5256290" y="1349105"/>
            <a:ext cx="1188720" cy="11887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7" rIns="91431" bIns="45717" rtlCol="0" anchor="ctr"/>
          <a:lstStyle/>
          <a:p>
            <a:pPr algn="ctr" defTabSz="914295"/>
            <a:endParaRPr lang="en-US">
              <a:solidFill>
                <a:prstClr val="white"/>
              </a:solidFill>
            </a:endParaRPr>
          </a:p>
        </p:txBody>
      </p:sp>
      <p:sp>
        <p:nvSpPr>
          <p:cNvPr id="34" name="Oval 33"/>
          <p:cNvSpPr/>
          <p:nvPr/>
        </p:nvSpPr>
        <p:spPr>
          <a:xfrm>
            <a:off x="9194579" y="1344563"/>
            <a:ext cx="1188720" cy="118872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7" rIns="91431" bIns="45717" rtlCol="0" anchor="ctr"/>
          <a:lstStyle/>
          <a:p>
            <a:pPr algn="ctr" defTabSz="914295"/>
            <a:endParaRPr 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8763" y="1545699"/>
            <a:ext cx="780356" cy="78645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7424" y="1537319"/>
            <a:ext cx="786452" cy="78645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4737" y="1537319"/>
            <a:ext cx="786452" cy="786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509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3</a:t>
            </a:fld>
            <a:endParaRPr dirty="0">
              <a:solidFill>
                <a:srgbClr val="81848A"/>
              </a:solidFill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399956" y="194087"/>
            <a:ext cx="1142274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234B8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r Mission</a:t>
            </a:r>
            <a:endParaRPr lang="en-US" sz="4000" b="1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" t="19683" r="281" b="14247"/>
          <a:stretch/>
        </p:blipFill>
        <p:spPr>
          <a:xfrm>
            <a:off x="0" y="1014412"/>
            <a:ext cx="12192000" cy="5843588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2731294" y="3711904"/>
            <a:ext cx="6729412" cy="1928813"/>
            <a:chOff x="2731294" y="3711904"/>
            <a:chExt cx="6729412" cy="1928813"/>
          </a:xfrm>
        </p:grpSpPr>
        <p:sp>
          <p:nvSpPr>
            <p:cNvPr id="6" name="Rectangle 5"/>
            <p:cNvSpPr/>
            <p:nvPr/>
          </p:nvSpPr>
          <p:spPr>
            <a:xfrm>
              <a:off x="2731294" y="3711904"/>
              <a:ext cx="6729412" cy="1928813"/>
            </a:xfrm>
            <a:prstGeom prst="rect">
              <a:avLst/>
            </a:prstGeom>
            <a:solidFill>
              <a:schemeClr val="accent1">
                <a:alpha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" name="Rectangle 1"/>
            <p:cNvSpPr/>
            <p:nvPr/>
          </p:nvSpPr>
          <p:spPr>
            <a:xfrm>
              <a:off x="2973662" y="3983812"/>
              <a:ext cx="6244677" cy="12926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600" dirty="0">
                  <a:solidFill>
                    <a:prstClr val="white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Grow the number of great teachers and school leaders who are preparing their </a:t>
              </a:r>
              <a:r>
                <a:rPr lang="en-US" sz="2600" dirty="0" smtClean="0">
                  <a:solidFill>
                    <a:prstClr val="white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PK-12 </a:t>
              </a:r>
              <a:r>
                <a:rPr lang="en-US" sz="2600" dirty="0">
                  <a:solidFill>
                    <a:prstClr val="white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tudents for success in college and career.</a:t>
              </a:r>
              <a:endParaRPr lang="en-US" sz="2600" dirty="0">
                <a:solidFill>
                  <a:prstClr val="white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0733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" t="10583" r="-119" b="12593"/>
          <a:stretch/>
        </p:blipFill>
        <p:spPr>
          <a:xfrm>
            <a:off x="0" y="1146630"/>
            <a:ext cx="12206514" cy="571137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28983" y="144147"/>
            <a:ext cx="8708573" cy="711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/>
            <a:r>
              <a:rPr lang="en-US" sz="4000" dirty="0" smtClean="0">
                <a:solidFill>
                  <a:srgbClr val="7499C6"/>
                </a:solidFill>
                <a:latin typeface="Calibri" panose="020F0502020204030204" pitchFamily="34" charset="0"/>
              </a:rPr>
              <a:t>Education creates </a:t>
            </a:r>
            <a:r>
              <a:rPr lang="en-US" sz="6000" b="1" dirty="0" smtClean="0">
                <a:solidFill>
                  <a:srgbClr val="224A8D"/>
                </a:solidFill>
                <a:latin typeface="Calibri" panose="020F0502020204030204" pitchFamily="34" charset="0"/>
              </a:rPr>
              <a:t>freedom</a:t>
            </a:r>
            <a:r>
              <a:rPr lang="en-US" sz="4000" b="1" dirty="0" smtClean="0">
                <a:solidFill>
                  <a:srgbClr val="224A8D"/>
                </a:solidFill>
                <a:latin typeface="Calibri" panose="020F0502020204030204" pitchFamily="34" charset="0"/>
              </a:rPr>
              <a:t>.</a:t>
            </a:r>
            <a:endParaRPr lang="en-US" sz="4000" b="1" dirty="0">
              <a:solidFill>
                <a:srgbClr val="224A8D"/>
              </a:solidFill>
              <a:latin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676596" y="2461837"/>
            <a:ext cx="6835514" cy="2638269"/>
          </a:xfrm>
          <a:prstGeom prst="rect">
            <a:avLst/>
          </a:prstGeom>
          <a:solidFill>
            <a:srgbClr val="224A8D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813537" y="2934586"/>
            <a:ext cx="6553199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600" dirty="0" smtClean="0">
                <a:solidFill>
                  <a:prstClr val="white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udies </a:t>
            </a:r>
            <a:r>
              <a:rPr lang="en-US" sz="2600" dirty="0">
                <a:solidFill>
                  <a:prstClr val="white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ffirm that highly effective teachers not only raise student achievement in the short </a:t>
            </a:r>
            <a:r>
              <a:rPr lang="en-US" sz="2600" dirty="0" smtClean="0">
                <a:solidFill>
                  <a:prstClr val="white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rm — but </a:t>
            </a:r>
            <a:r>
              <a:rPr lang="en-US" sz="2600" dirty="0">
                <a:solidFill>
                  <a:prstClr val="white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y also significantly improve their students’ long-term life outcomes.</a:t>
            </a:r>
            <a:endParaRPr lang="en-US" sz="26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4</a:t>
            </a:fld>
            <a:endParaRPr dirty="0">
              <a:solidFill>
                <a:srgbClr val="81848A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143366" y="6420076"/>
            <a:ext cx="44467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prstClr val="white"/>
                </a:solidFill>
                <a:latin typeface="Calibri" panose="020F0502020204030204" pitchFamily="34" charset="0"/>
              </a:rPr>
              <a:t>*Jordan</a:t>
            </a:r>
            <a:r>
              <a:rPr lang="en-US" sz="1200" dirty="0">
                <a:solidFill>
                  <a:prstClr val="white"/>
                </a:solidFill>
                <a:latin typeface="Calibri" panose="020F0502020204030204" pitchFamily="34" charset="0"/>
              </a:rPr>
              <a:t>, </a:t>
            </a:r>
            <a:r>
              <a:rPr lang="en-US" sz="1200" dirty="0" err="1">
                <a:solidFill>
                  <a:prstClr val="white"/>
                </a:solidFill>
                <a:latin typeface="Calibri" panose="020F0502020204030204" pitchFamily="34" charset="0"/>
              </a:rPr>
              <a:t>Mendro</a:t>
            </a:r>
            <a:r>
              <a:rPr lang="en-US" sz="1200" dirty="0">
                <a:solidFill>
                  <a:prstClr val="white"/>
                </a:solidFill>
                <a:latin typeface="Calibri" panose="020F0502020204030204" pitchFamily="34" charset="0"/>
              </a:rPr>
              <a:t>, and </a:t>
            </a:r>
            <a:r>
              <a:rPr lang="en-US" sz="1200" dirty="0" err="1" smtClean="0">
                <a:solidFill>
                  <a:prstClr val="white"/>
                </a:solidFill>
                <a:latin typeface="Calibri" panose="020F0502020204030204" pitchFamily="34" charset="0"/>
              </a:rPr>
              <a:t>Weerasinghe</a:t>
            </a:r>
            <a:r>
              <a:rPr lang="en-US" sz="1200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US" sz="1200" dirty="0" smtClean="0">
                <a:solidFill>
                  <a:prstClr val="white"/>
                </a:solidFill>
                <a:latin typeface="Calibri" panose="020F0502020204030204" pitchFamily="34" charset="0"/>
              </a:rPr>
              <a:t>(1997</a:t>
            </a:r>
            <a:r>
              <a:rPr lang="en-US" sz="1200" dirty="0">
                <a:solidFill>
                  <a:prstClr val="white"/>
                </a:solidFill>
                <a:latin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2380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Rectangle 236"/>
          <p:cNvSpPr/>
          <p:nvPr/>
        </p:nvSpPr>
        <p:spPr>
          <a:xfrm>
            <a:off x="0" y="1219200"/>
            <a:ext cx="12192000" cy="5638800"/>
          </a:xfrm>
          <a:prstGeom prst="rect">
            <a:avLst/>
          </a:prstGeom>
          <a:solidFill>
            <a:srgbClr val="0119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09866" y="191434"/>
            <a:ext cx="9217199" cy="711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/>
            <a:r>
              <a:rPr lang="en-US" sz="4000" dirty="0">
                <a:solidFill>
                  <a:srgbClr val="7499C6"/>
                </a:solidFill>
                <a:latin typeface="Calibri" panose="020F0502020204030204" pitchFamily="34" charset="0"/>
              </a:rPr>
              <a:t>Great teachers are</a:t>
            </a:r>
            <a:r>
              <a:rPr lang="en-US" sz="4000" dirty="0">
                <a:solidFill>
                  <a:srgbClr val="B30838"/>
                </a:solidFill>
                <a:latin typeface="Calibri" panose="020F0502020204030204" pitchFamily="34" charset="0"/>
              </a:rPr>
              <a:t> </a:t>
            </a:r>
            <a:r>
              <a:rPr lang="en-US" sz="6000" b="1" dirty="0" smtClean="0">
                <a:solidFill>
                  <a:srgbClr val="B30838"/>
                </a:solidFill>
                <a:latin typeface="Calibri" panose="020F0502020204030204" pitchFamily="34" charset="0"/>
              </a:rPr>
              <a:t>made</a:t>
            </a:r>
            <a:r>
              <a:rPr lang="en-US" sz="4000" dirty="0" smtClean="0">
                <a:solidFill>
                  <a:srgbClr val="7499C6"/>
                </a:solidFill>
                <a:latin typeface="Calibri" panose="020F0502020204030204" pitchFamily="34" charset="0"/>
              </a:rPr>
              <a:t>, </a:t>
            </a:r>
            <a:r>
              <a:rPr lang="en-US" sz="4000" dirty="0">
                <a:solidFill>
                  <a:srgbClr val="7499C6"/>
                </a:solidFill>
                <a:latin typeface="Calibri" panose="020F0502020204030204" pitchFamily="34" charset="0"/>
              </a:rPr>
              <a:t>not </a:t>
            </a:r>
            <a:r>
              <a:rPr lang="en-US" sz="4000" dirty="0" smtClean="0">
                <a:solidFill>
                  <a:srgbClr val="7499C6"/>
                </a:solidFill>
                <a:latin typeface="Calibri" panose="020F0502020204030204" pitchFamily="34" charset="0"/>
              </a:rPr>
              <a:t>born.</a:t>
            </a:r>
            <a:endParaRPr lang="en-US" sz="4000" dirty="0">
              <a:solidFill>
                <a:srgbClr val="7499C6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85192" y="2414507"/>
            <a:ext cx="5810808" cy="23929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en-US" sz="2600" dirty="0" smtClean="0">
                <a:solidFill>
                  <a:prstClr val="white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ur goal is to become </a:t>
            </a:r>
            <a:r>
              <a:rPr lang="en-US" sz="2600" i="1" dirty="0" smtClean="0">
                <a:solidFill>
                  <a:srgbClr val="7499C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</a:t>
            </a:r>
            <a:r>
              <a:rPr lang="en-US" sz="2600" dirty="0" smtClean="0">
                <a:solidFill>
                  <a:srgbClr val="7499C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lace where a new generation of dedicated, continuously-improving teacher-heroes can fulfill their destiny in the world’s greatest profession. </a:t>
            </a:r>
            <a:endParaRPr lang="en-US" sz="2600" dirty="0">
              <a:solidFill>
                <a:srgbClr val="7499C6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5</a:t>
            </a:fld>
            <a:endParaRPr>
              <a:solidFill>
                <a:srgbClr val="81848A"/>
              </a:solidFill>
            </a:endParaRPr>
          </a:p>
        </p:txBody>
      </p:sp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6321285" y="1855325"/>
            <a:ext cx="5320750" cy="3693258"/>
            <a:chOff x="8693990" y="3091537"/>
            <a:chExt cx="2930025" cy="2033798"/>
          </a:xfrm>
        </p:grpSpPr>
        <p:grpSp>
          <p:nvGrpSpPr>
            <p:cNvPr id="11" name="Group 10"/>
            <p:cNvGrpSpPr>
              <a:grpSpLocks noChangeAspect="1"/>
            </p:cNvGrpSpPr>
            <p:nvPr/>
          </p:nvGrpSpPr>
          <p:grpSpPr>
            <a:xfrm>
              <a:off x="8693990" y="3091537"/>
              <a:ext cx="2930025" cy="2033798"/>
              <a:chOff x="1884582" y="1007573"/>
              <a:chExt cx="6118544" cy="4247027"/>
            </a:xfrm>
            <a:solidFill>
              <a:schemeClr val="accent2">
                <a:lumMod val="40000"/>
                <a:lumOff val="60000"/>
              </a:schemeClr>
            </a:solidFill>
          </p:grpSpPr>
          <p:sp>
            <p:nvSpPr>
              <p:cNvPr id="26" name="Freeform 6"/>
              <p:cNvSpPr>
                <a:spLocks/>
              </p:cNvSpPr>
              <p:nvPr/>
            </p:nvSpPr>
            <p:spPr bwMode="auto">
              <a:xfrm>
                <a:off x="5854048" y="2868446"/>
                <a:ext cx="876663" cy="485892"/>
              </a:xfrm>
              <a:custGeom>
                <a:avLst/>
                <a:gdLst/>
                <a:ahLst/>
                <a:cxnLst>
                  <a:cxn ang="0">
                    <a:pos x="630" y="82"/>
                  </a:cxn>
                  <a:cxn ang="0">
                    <a:pos x="616" y="40"/>
                  </a:cxn>
                  <a:cxn ang="0">
                    <a:pos x="592" y="24"/>
                  </a:cxn>
                  <a:cxn ang="0">
                    <a:pos x="502" y="36"/>
                  </a:cxn>
                  <a:cxn ang="0">
                    <a:pos x="396" y="0"/>
                  </a:cxn>
                  <a:cxn ang="0">
                    <a:pos x="400" y="12"/>
                  </a:cxn>
                  <a:cxn ang="0">
                    <a:pos x="360" y="52"/>
                  </a:cxn>
                  <a:cxn ang="0">
                    <a:pos x="310" y="162"/>
                  </a:cxn>
                  <a:cxn ang="0">
                    <a:pos x="280" y="148"/>
                  </a:cxn>
                  <a:cxn ang="0">
                    <a:pos x="200" y="204"/>
                  </a:cxn>
                  <a:cxn ang="0">
                    <a:pos x="176" y="188"/>
                  </a:cxn>
                  <a:cxn ang="0">
                    <a:pos x="122" y="232"/>
                  </a:cxn>
                  <a:cxn ang="0">
                    <a:pos x="122" y="228"/>
                  </a:cxn>
                  <a:cxn ang="0">
                    <a:pos x="176" y="184"/>
                  </a:cxn>
                  <a:cxn ang="0">
                    <a:pos x="122" y="224"/>
                  </a:cxn>
                  <a:cxn ang="0">
                    <a:pos x="118" y="256"/>
                  </a:cxn>
                  <a:cxn ang="0">
                    <a:pos x="76" y="312"/>
                  </a:cxn>
                  <a:cxn ang="0">
                    <a:pos x="26" y="286"/>
                  </a:cxn>
                  <a:cxn ang="0">
                    <a:pos x="4" y="330"/>
                  </a:cxn>
                  <a:cxn ang="0">
                    <a:pos x="0" y="322"/>
                  </a:cxn>
                  <a:cxn ang="0">
                    <a:pos x="6" y="378"/>
                  </a:cxn>
                  <a:cxn ang="0">
                    <a:pos x="26" y="376"/>
                  </a:cxn>
                  <a:cxn ang="0">
                    <a:pos x="306" y="330"/>
                  </a:cxn>
                  <a:cxn ang="0">
                    <a:pos x="568" y="276"/>
                  </a:cxn>
                  <a:cxn ang="0">
                    <a:pos x="632" y="202"/>
                  </a:cxn>
                  <a:cxn ang="0">
                    <a:pos x="682" y="104"/>
                  </a:cxn>
                  <a:cxn ang="0">
                    <a:pos x="630" y="82"/>
                  </a:cxn>
                </a:cxnLst>
                <a:rect l="0" t="0" r="r" b="b"/>
                <a:pathLst>
                  <a:path w="682" h="378">
                    <a:moveTo>
                      <a:pt x="630" y="82"/>
                    </a:moveTo>
                    <a:lnTo>
                      <a:pt x="616" y="40"/>
                    </a:lnTo>
                    <a:lnTo>
                      <a:pt x="592" y="24"/>
                    </a:lnTo>
                    <a:lnTo>
                      <a:pt x="502" y="36"/>
                    </a:lnTo>
                    <a:lnTo>
                      <a:pt x="396" y="0"/>
                    </a:lnTo>
                    <a:lnTo>
                      <a:pt x="400" y="12"/>
                    </a:lnTo>
                    <a:lnTo>
                      <a:pt x="360" y="52"/>
                    </a:lnTo>
                    <a:lnTo>
                      <a:pt x="310" y="162"/>
                    </a:lnTo>
                    <a:lnTo>
                      <a:pt x="280" y="148"/>
                    </a:lnTo>
                    <a:lnTo>
                      <a:pt x="200" y="204"/>
                    </a:lnTo>
                    <a:lnTo>
                      <a:pt x="176" y="188"/>
                    </a:lnTo>
                    <a:lnTo>
                      <a:pt x="122" y="232"/>
                    </a:lnTo>
                    <a:lnTo>
                      <a:pt x="122" y="228"/>
                    </a:lnTo>
                    <a:lnTo>
                      <a:pt x="176" y="184"/>
                    </a:lnTo>
                    <a:lnTo>
                      <a:pt x="122" y="224"/>
                    </a:lnTo>
                    <a:lnTo>
                      <a:pt x="118" y="256"/>
                    </a:lnTo>
                    <a:lnTo>
                      <a:pt x="76" y="312"/>
                    </a:lnTo>
                    <a:lnTo>
                      <a:pt x="26" y="286"/>
                    </a:lnTo>
                    <a:lnTo>
                      <a:pt x="4" y="330"/>
                    </a:lnTo>
                    <a:lnTo>
                      <a:pt x="0" y="322"/>
                    </a:lnTo>
                    <a:lnTo>
                      <a:pt x="6" y="378"/>
                    </a:lnTo>
                    <a:lnTo>
                      <a:pt x="26" y="376"/>
                    </a:lnTo>
                    <a:lnTo>
                      <a:pt x="306" y="330"/>
                    </a:lnTo>
                    <a:lnTo>
                      <a:pt x="568" y="276"/>
                    </a:lnTo>
                    <a:lnTo>
                      <a:pt x="632" y="202"/>
                    </a:lnTo>
                    <a:lnTo>
                      <a:pt x="682" y="104"/>
                    </a:lnTo>
                    <a:lnTo>
                      <a:pt x="630" y="8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7" name="Freeform 7"/>
              <p:cNvSpPr>
                <a:spLocks/>
              </p:cNvSpPr>
              <p:nvPr/>
            </p:nvSpPr>
            <p:spPr bwMode="auto">
              <a:xfrm>
                <a:off x="5115304" y="2820507"/>
                <a:ext cx="755833" cy="655569"/>
              </a:xfrm>
              <a:custGeom>
                <a:avLst/>
                <a:gdLst/>
                <a:ahLst/>
                <a:cxnLst>
                  <a:cxn ang="0">
                    <a:pos x="556" y="278"/>
                  </a:cxn>
                  <a:cxn ang="0">
                    <a:pos x="476" y="220"/>
                  </a:cxn>
                  <a:cxn ang="0">
                    <a:pos x="476" y="140"/>
                  </a:cxn>
                  <a:cxn ang="0">
                    <a:pos x="444" y="140"/>
                  </a:cxn>
                  <a:cxn ang="0">
                    <a:pos x="346" y="14"/>
                  </a:cxn>
                  <a:cxn ang="0">
                    <a:pos x="346" y="0"/>
                  </a:cxn>
                  <a:cxn ang="0">
                    <a:pos x="0" y="8"/>
                  </a:cxn>
                  <a:cxn ang="0">
                    <a:pos x="22" y="70"/>
                  </a:cxn>
                  <a:cxn ang="0">
                    <a:pos x="68" y="70"/>
                  </a:cxn>
                  <a:cxn ang="0">
                    <a:pos x="50" y="136"/>
                  </a:cxn>
                  <a:cxn ang="0">
                    <a:pos x="104" y="160"/>
                  </a:cxn>
                  <a:cxn ang="0">
                    <a:pos x="132" y="470"/>
                  </a:cxn>
                  <a:cxn ang="0">
                    <a:pos x="522" y="462"/>
                  </a:cxn>
                  <a:cxn ang="0">
                    <a:pos x="506" y="510"/>
                  </a:cxn>
                  <a:cxn ang="0">
                    <a:pos x="586" y="504"/>
                  </a:cxn>
                  <a:cxn ang="0">
                    <a:pos x="586" y="410"/>
                  </a:cxn>
                  <a:cxn ang="0">
                    <a:pos x="588" y="408"/>
                  </a:cxn>
                  <a:cxn ang="0">
                    <a:pos x="582" y="352"/>
                  </a:cxn>
                  <a:cxn ang="0">
                    <a:pos x="556" y="278"/>
                  </a:cxn>
                </a:cxnLst>
                <a:rect l="0" t="0" r="r" b="b"/>
                <a:pathLst>
                  <a:path w="588" h="510">
                    <a:moveTo>
                      <a:pt x="556" y="278"/>
                    </a:moveTo>
                    <a:lnTo>
                      <a:pt x="476" y="220"/>
                    </a:lnTo>
                    <a:lnTo>
                      <a:pt x="476" y="140"/>
                    </a:lnTo>
                    <a:lnTo>
                      <a:pt x="444" y="140"/>
                    </a:lnTo>
                    <a:lnTo>
                      <a:pt x="346" y="14"/>
                    </a:lnTo>
                    <a:lnTo>
                      <a:pt x="346" y="0"/>
                    </a:lnTo>
                    <a:lnTo>
                      <a:pt x="0" y="8"/>
                    </a:lnTo>
                    <a:lnTo>
                      <a:pt x="22" y="70"/>
                    </a:lnTo>
                    <a:lnTo>
                      <a:pt x="68" y="70"/>
                    </a:lnTo>
                    <a:lnTo>
                      <a:pt x="50" y="136"/>
                    </a:lnTo>
                    <a:lnTo>
                      <a:pt x="104" y="160"/>
                    </a:lnTo>
                    <a:lnTo>
                      <a:pt x="132" y="470"/>
                    </a:lnTo>
                    <a:lnTo>
                      <a:pt x="522" y="462"/>
                    </a:lnTo>
                    <a:lnTo>
                      <a:pt x="506" y="510"/>
                    </a:lnTo>
                    <a:lnTo>
                      <a:pt x="586" y="504"/>
                    </a:lnTo>
                    <a:lnTo>
                      <a:pt x="586" y="410"/>
                    </a:lnTo>
                    <a:lnTo>
                      <a:pt x="588" y="408"/>
                    </a:lnTo>
                    <a:lnTo>
                      <a:pt x="582" y="352"/>
                    </a:lnTo>
                    <a:lnTo>
                      <a:pt x="556" y="27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8" name="Freeform 27"/>
              <p:cNvSpPr>
                <a:spLocks/>
              </p:cNvSpPr>
              <p:nvPr/>
            </p:nvSpPr>
            <p:spPr bwMode="auto">
              <a:xfrm>
                <a:off x="5304037" y="1729571"/>
                <a:ext cx="646996" cy="751772"/>
              </a:xfrm>
              <a:custGeom>
                <a:avLst/>
                <a:gdLst/>
                <a:ahLst/>
                <a:cxnLst>
                  <a:cxn ang="0">
                    <a:pos x="404" y="538"/>
                  </a:cxn>
                  <a:cxn ang="0">
                    <a:pos x="490" y="542"/>
                  </a:cxn>
                  <a:cxn ang="0">
                    <a:pos x="464" y="400"/>
                  </a:cxn>
                  <a:cxn ang="0">
                    <a:pos x="494" y="172"/>
                  </a:cxn>
                  <a:cxn ang="0">
                    <a:pos x="446" y="160"/>
                  </a:cxn>
                  <a:cxn ang="0">
                    <a:pos x="414" y="160"/>
                  </a:cxn>
                  <a:cxn ang="0">
                    <a:pos x="404" y="122"/>
                  </a:cxn>
                  <a:cxn ang="0">
                    <a:pos x="196" y="96"/>
                  </a:cxn>
                  <a:cxn ang="0">
                    <a:pos x="174" y="38"/>
                  </a:cxn>
                  <a:cxn ang="0">
                    <a:pos x="146" y="38"/>
                  </a:cxn>
                  <a:cxn ang="0">
                    <a:pos x="146" y="0"/>
                  </a:cxn>
                  <a:cxn ang="0">
                    <a:pos x="78" y="24"/>
                  </a:cxn>
                  <a:cxn ang="0">
                    <a:pos x="36" y="116"/>
                  </a:cxn>
                  <a:cxn ang="0">
                    <a:pos x="0" y="158"/>
                  </a:cxn>
                  <a:cxn ang="0">
                    <a:pos x="28" y="292"/>
                  </a:cxn>
                  <a:cxn ang="0">
                    <a:pos x="166" y="374"/>
                  </a:cxn>
                  <a:cxn ang="0">
                    <a:pos x="194" y="508"/>
                  </a:cxn>
                  <a:cxn ang="0">
                    <a:pos x="264" y="574"/>
                  </a:cxn>
                  <a:cxn ang="0">
                    <a:pos x="352" y="568"/>
                  </a:cxn>
                  <a:cxn ang="0">
                    <a:pos x="404" y="538"/>
                  </a:cxn>
                </a:cxnLst>
                <a:rect l="0" t="0" r="r" b="b"/>
                <a:pathLst>
                  <a:path w="494" h="574">
                    <a:moveTo>
                      <a:pt x="404" y="538"/>
                    </a:moveTo>
                    <a:lnTo>
                      <a:pt x="490" y="542"/>
                    </a:lnTo>
                    <a:lnTo>
                      <a:pt x="464" y="400"/>
                    </a:lnTo>
                    <a:lnTo>
                      <a:pt x="494" y="172"/>
                    </a:lnTo>
                    <a:lnTo>
                      <a:pt x="446" y="160"/>
                    </a:lnTo>
                    <a:lnTo>
                      <a:pt x="414" y="160"/>
                    </a:lnTo>
                    <a:lnTo>
                      <a:pt x="404" y="122"/>
                    </a:lnTo>
                    <a:lnTo>
                      <a:pt x="196" y="96"/>
                    </a:lnTo>
                    <a:lnTo>
                      <a:pt x="174" y="38"/>
                    </a:lnTo>
                    <a:lnTo>
                      <a:pt x="146" y="38"/>
                    </a:lnTo>
                    <a:lnTo>
                      <a:pt x="146" y="0"/>
                    </a:lnTo>
                    <a:lnTo>
                      <a:pt x="78" y="24"/>
                    </a:lnTo>
                    <a:lnTo>
                      <a:pt x="36" y="116"/>
                    </a:lnTo>
                    <a:lnTo>
                      <a:pt x="0" y="158"/>
                    </a:lnTo>
                    <a:lnTo>
                      <a:pt x="28" y="292"/>
                    </a:lnTo>
                    <a:lnTo>
                      <a:pt x="166" y="374"/>
                    </a:lnTo>
                    <a:lnTo>
                      <a:pt x="194" y="508"/>
                    </a:lnTo>
                    <a:lnTo>
                      <a:pt x="264" y="574"/>
                    </a:lnTo>
                    <a:lnTo>
                      <a:pt x="352" y="568"/>
                    </a:lnTo>
                    <a:lnTo>
                      <a:pt x="404" y="53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9" name="Freeform 28"/>
              <p:cNvSpPr>
                <a:spLocks/>
              </p:cNvSpPr>
              <p:nvPr/>
            </p:nvSpPr>
            <p:spPr bwMode="auto">
              <a:xfrm>
                <a:off x="5558120" y="2434193"/>
                <a:ext cx="492450" cy="861788"/>
              </a:xfrm>
              <a:custGeom>
                <a:avLst/>
                <a:gdLst/>
                <a:ahLst/>
                <a:cxnLst>
                  <a:cxn ang="0">
                    <a:pos x="336" y="64"/>
                  </a:cxn>
                  <a:cxn ang="0">
                    <a:pos x="300" y="26"/>
                  </a:cxn>
                  <a:cxn ang="0">
                    <a:pos x="296" y="4"/>
                  </a:cxn>
                  <a:cxn ang="0">
                    <a:pos x="210" y="0"/>
                  </a:cxn>
                  <a:cxn ang="0">
                    <a:pos x="158" y="30"/>
                  </a:cxn>
                  <a:cxn ang="0">
                    <a:pos x="70" y="36"/>
                  </a:cxn>
                  <a:cxn ang="0">
                    <a:pos x="78" y="96"/>
                  </a:cxn>
                  <a:cxn ang="0">
                    <a:pos x="22" y="162"/>
                  </a:cxn>
                  <a:cxn ang="0">
                    <a:pos x="42" y="202"/>
                  </a:cxn>
                  <a:cxn ang="0">
                    <a:pos x="0" y="272"/>
                  </a:cxn>
                  <a:cxn ang="0">
                    <a:pos x="0" y="320"/>
                  </a:cxn>
                  <a:cxn ang="0">
                    <a:pos x="96" y="442"/>
                  </a:cxn>
                  <a:cxn ang="0">
                    <a:pos x="130" y="442"/>
                  </a:cxn>
                  <a:cxn ang="0">
                    <a:pos x="130" y="526"/>
                  </a:cxn>
                  <a:cxn ang="0">
                    <a:pos x="208" y="580"/>
                  </a:cxn>
                  <a:cxn ang="0">
                    <a:pos x="236" y="658"/>
                  </a:cxn>
                  <a:cxn ang="0">
                    <a:pos x="258" y="616"/>
                  </a:cxn>
                  <a:cxn ang="0">
                    <a:pos x="308" y="644"/>
                  </a:cxn>
                  <a:cxn ang="0">
                    <a:pos x="348" y="592"/>
                  </a:cxn>
                  <a:cxn ang="0">
                    <a:pos x="356" y="510"/>
                  </a:cxn>
                  <a:cxn ang="0">
                    <a:pos x="376" y="428"/>
                  </a:cxn>
                  <a:cxn ang="0">
                    <a:pos x="336" y="64"/>
                  </a:cxn>
                </a:cxnLst>
                <a:rect l="0" t="0" r="r" b="b"/>
                <a:pathLst>
                  <a:path w="376" h="658">
                    <a:moveTo>
                      <a:pt x="336" y="64"/>
                    </a:moveTo>
                    <a:lnTo>
                      <a:pt x="300" y="26"/>
                    </a:lnTo>
                    <a:lnTo>
                      <a:pt x="296" y="4"/>
                    </a:lnTo>
                    <a:lnTo>
                      <a:pt x="210" y="0"/>
                    </a:lnTo>
                    <a:lnTo>
                      <a:pt x="158" y="30"/>
                    </a:lnTo>
                    <a:lnTo>
                      <a:pt x="70" y="36"/>
                    </a:lnTo>
                    <a:lnTo>
                      <a:pt x="78" y="96"/>
                    </a:lnTo>
                    <a:lnTo>
                      <a:pt x="22" y="162"/>
                    </a:lnTo>
                    <a:lnTo>
                      <a:pt x="42" y="202"/>
                    </a:lnTo>
                    <a:lnTo>
                      <a:pt x="0" y="272"/>
                    </a:lnTo>
                    <a:lnTo>
                      <a:pt x="0" y="320"/>
                    </a:lnTo>
                    <a:lnTo>
                      <a:pt x="96" y="442"/>
                    </a:lnTo>
                    <a:lnTo>
                      <a:pt x="130" y="442"/>
                    </a:lnTo>
                    <a:lnTo>
                      <a:pt x="130" y="526"/>
                    </a:lnTo>
                    <a:lnTo>
                      <a:pt x="208" y="580"/>
                    </a:lnTo>
                    <a:lnTo>
                      <a:pt x="236" y="658"/>
                    </a:lnTo>
                    <a:lnTo>
                      <a:pt x="258" y="616"/>
                    </a:lnTo>
                    <a:lnTo>
                      <a:pt x="308" y="644"/>
                    </a:lnTo>
                    <a:lnTo>
                      <a:pt x="348" y="592"/>
                    </a:lnTo>
                    <a:lnTo>
                      <a:pt x="356" y="510"/>
                    </a:lnTo>
                    <a:lnTo>
                      <a:pt x="376" y="428"/>
                    </a:lnTo>
                    <a:lnTo>
                      <a:pt x="336" y="6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0" name="Freeform 3053"/>
              <p:cNvSpPr>
                <a:spLocks/>
              </p:cNvSpPr>
              <p:nvPr/>
            </p:nvSpPr>
            <p:spPr bwMode="auto">
              <a:xfrm>
                <a:off x="7360329" y="1614373"/>
                <a:ext cx="128559" cy="49109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6" y="312"/>
                  </a:cxn>
                  <a:cxn ang="0">
                    <a:pos x="100" y="382"/>
                  </a:cxn>
                  <a:cxn ang="0">
                    <a:pos x="94" y="324"/>
                  </a:cxn>
                  <a:cxn ang="0">
                    <a:pos x="30" y="98"/>
                  </a:cxn>
                  <a:cxn ang="0">
                    <a:pos x="0" y="0"/>
                  </a:cxn>
                </a:cxnLst>
                <a:rect l="0" t="0" r="r" b="b"/>
                <a:pathLst>
                  <a:path w="100" h="382">
                    <a:moveTo>
                      <a:pt x="0" y="0"/>
                    </a:moveTo>
                    <a:lnTo>
                      <a:pt x="86" y="312"/>
                    </a:lnTo>
                    <a:lnTo>
                      <a:pt x="100" y="382"/>
                    </a:lnTo>
                    <a:lnTo>
                      <a:pt x="94" y="324"/>
                    </a:lnTo>
                    <a:lnTo>
                      <a:pt x="30" y="9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1" name="Freeform 3054"/>
              <p:cNvSpPr>
                <a:spLocks/>
              </p:cNvSpPr>
              <p:nvPr/>
            </p:nvSpPr>
            <p:spPr bwMode="auto">
              <a:xfrm>
                <a:off x="6792096" y="1570663"/>
                <a:ext cx="771357" cy="701935"/>
              </a:xfrm>
              <a:custGeom>
                <a:avLst/>
                <a:gdLst/>
                <a:ahLst/>
                <a:cxnLst>
                  <a:cxn ang="0">
                    <a:pos x="546" y="442"/>
                  </a:cxn>
                  <a:cxn ang="0">
                    <a:pos x="542" y="416"/>
                  </a:cxn>
                  <a:cxn ang="0">
                    <a:pos x="528" y="346"/>
                  </a:cxn>
                  <a:cxn ang="0">
                    <a:pos x="442" y="34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308" y="48"/>
                  </a:cxn>
                  <a:cxn ang="0">
                    <a:pos x="238" y="208"/>
                  </a:cxn>
                  <a:cxn ang="0">
                    <a:pos x="246" y="234"/>
                  </a:cxn>
                  <a:cxn ang="0">
                    <a:pos x="216" y="290"/>
                  </a:cxn>
                  <a:cxn ang="0">
                    <a:pos x="84" y="318"/>
                  </a:cxn>
                  <a:cxn ang="0">
                    <a:pos x="46" y="398"/>
                  </a:cxn>
                  <a:cxn ang="0">
                    <a:pos x="58" y="426"/>
                  </a:cxn>
                  <a:cxn ang="0">
                    <a:pos x="0" y="494"/>
                  </a:cxn>
                  <a:cxn ang="0">
                    <a:pos x="16" y="546"/>
                  </a:cxn>
                  <a:cxn ang="0">
                    <a:pos x="380" y="426"/>
                  </a:cxn>
                  <a:cxn ang="0">
                    <a:pos x="456" y="492"/>
                  </a:cxn>
                  <a:cxn ang="0">
                    <a:pos x="478" y="498"/>
                  </a:cxn>
                  <a:cxn ang="0">
                    <a:pos x="588" y="522"/>
                  </a:cxn>
                  <a:cxn ang="0">
                    <a:pos x="600" y="496"/>
                  </a:cxn>
                  <a:cxn ang="0">
                    <a:pos x="594" y="490"/>
                  </a:cxn>
                  <a:cxn ang="0">
                    <a:pos x="546" y="442"/>
                  </a:cxn>
                </a:cxnLst>
                <a:rect l="0" t="0" r="r" b="b"/>
                <a:pathLst>
                  <a:path w="600" h="546">
                    <a:moveTo>
                      <a:pt x="546" y="442"/>
                    </a:moveTo>
                    <a:lnTo>
                      <a:pt x="542" y="416"/>
                    </a:lnTo>
                    <a:lnTo>
                      <a:pt x="528" y="346"/>
                    </a:lnTo>
                    <a:lnTo>
                      <a:pt x="442" y="34"/>
                    </a:lnTo>
                    <a:lnTo>
                      <a:pt x="434" y="0"/>
                    </a:lnTo>
                    <a:lnTo>
                      <a:pt x="434" y="0"/>
                    </a:lnTo>
                    <a:lnTo>
                      <a:pt x="434" y="0"/>
                    </a:lnTo>
                    <a:lnTo>
                      <a:pt x="308" y="48"/>
                    </a:lnTo>
                    <a:lnTo>
                      <a:pt x="238" y="208"/>
                    </a:lnTo>
                    <a:lnTo>
                      <a:pt x="246" y="234"/>
                    </a:lnTo>
                    <a:lnTo>
                      <a:pt x="216" y="290"/>
                    </a:lnTo>
                    <a:lnTo>
                      <a:pt x="84" y="318"/>
                    </a:lnTo>
                    <a:lnTo>
                      <a:pt x="46" y="398"/>
                    </a:lnTo>
                    <a:lnTo>
                      <a:pt x="58" y="426"/>
                    </a:lnTo>
                    <a:lnTo>
                      <a:pt x="0" y="494"/>
                    </a:lnTo>
                    <a:lnTo>
                      <a:pt x="16" y="546"/>
                    </a:lnTo>
                    <a:lnTo>
                      <a:pt x="380" y="426"/>
                    </a:lnTo>
                    <a:lnTo>
                      <a:pt x="456" y="492"/>
                    </a:lnTo>
                    <a:lnTo>
                      <a:pt x="478" y="498"/>
                    </a:lnTo>
                    <a:lnTo>
                      <a:pt x="588" y="522"/>
                    </a:lnTo>
                    <a:lnTo>
                      <a:pt x="600" y="496"/>
                    </a:lnTo>
                    <a:lnTo>
                      <a:pt x="594" y="490"/>
                    </a:lnTo>
                    <a:lnTo>
                      <a:pt x="546" y="44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2" name="Freeform 3055"/>
              <p:cNvSpPr>
                <a:spLocks/>
              </p:cNvSpPr>
              <p:nvPr/>
            </p:nvSpPr>
            <p:spPr bwMode="auto">
              <a:xfrm>
                <a:off x="7684299" y="1748075"/>
                <a:ext cx="51424" cy="35996"/>
              </a:xfrm>
              <a:custGeom>
                <a:avLst/>
                <a:gdLst/>
                <a:ahLst/>
                <a:cxnLst>
                  <a:cxn ang="0">
                    <a:pos x="40" y="28"/>
                  </a:cxn>
                  <a:cxn ang="0">
                    <a:pos x="40" y="24"/>
                  </a:cxn>
                  <a:cxn ang="0">
                    <a:pos x="0" y="0"/>
                  </a:cxn>
                  <a:cxn ang="0">
                    <a:pos x="40" y="28"/>
                  </a:cxn>
                </a:cxnLst>
                <a:rect l="0" t="0" r="r" b="b"/>
                <a:pathLst>
                  <a:path w="40" h="28">
                    <a:moveTo>
                      <a:pt x="40" y="28"/>
                    </a:moveTo>
                    <a:lnTo>
                      <a:pt x="40" y="24"/>
                    </a:lnTo>
                    <a:lnTo>
                      <a:pt x="0" y="0"/>
                    </a:lnTo>
                    <a:lnTo>
                      <a:pt x="40" y="2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3" name="Freeform 3056"/>
              <p:cNvSpPr>
                <a:spLocks/>
              </p:cNvSpPr>
              <p:nvPr/>
            </p:nvSpPr>
            <p:spPr bwMode="auto">
              <a:xfrm>
                <a:off x="7522314" y="1007573"/>
                <a:ext cx="480812" cy="771357"/>
              </a:xfrm>
              <a:custGeom>
                <a:avLst/>
                <a:gdLst/>
                <a:ahLst/>
                <a:cxnLst>
                  <a:cxn ang="0">
                    <a:pos x="284" y="228"/>
                  </a:cxn>
                  <a:cxn ang="0">
                    <a:pos x="244" y="202"/>
                  </a:cxn>
                  <a:cxn ang="0">
                    <a:pos x="136" y="0"/>
                  </a:cxn>
                  <a:cxn ang="0">
                    <a:pos x="84" y="68"/>
                  </a:cxn>
                  <a:cxn ang="0">
                    <a:pos x="46" y="54"/>
                  </a:cxn>
                  <a:cxn ang="0">
                    <a:pos x="46" y="228"/>
                  </a:cxn>
                  <a:cxn ang="0">
                    <a:pos x="0" y="356"/>
                  </a:cxn>
                  <a:cxn ang="0">
                    <a:pos x="126" y="576"/>
                  </a:cxn>
                  <a:cxn ang="0">
                    <a:pos x="166" y="600"/>
                  </a:cxn>
                  <a:cxn ang="0">
                    <a:pos x="166" y="540"/>
                  </a:cxn>
                  <a:cxn ang="0">
                    <a:pos x="244" y="404"/>
                  </a:cxn>
                  <a:cxn ang="0">
                    <a:pos x="294" y="378"/>
                  </a:cxn>
                  <a:cxn ang="0">
                    <a:pos x="294" y="336"/>
                  </a:cxn>
                  <a:cxn ang="0">
                    <a:pos x="374" y="202"/>
                  </a:cxn>
                  <a:cxn ang="0">
                    <a:pos x="284" y="228"/>
                  </a:cxn>
                </a:cxnLst>
                <a:rect l="0" t="0" r="r" b="b"/>
                <a:pathLst>
                  <a:path w="374" h="600">
                    <a:moveTo>
                      <a:pt x="284" y="228"/>
                    </a:moveTo>
                    <a:lnTo>
                      <a:pt x="244" y="202"/>
                    </a:lnTo>
                    <a:lnTo>
                      <a:pt x="136" y="0"/>
                    </a:lnTo>
                    <a:lnTo>
                      <a:pt x="84" y="68"/>
                    </a:lnTo>
                    <a:lnTo>
                      <a:pt x="46" y="54"/>
                    </a:lnTo>
                    <a:lnTo>
                      <a:pt x="46" y="228"/>
                    </a:lnTo>
                    <a:lnTo>
                      <a:pt x="0" y="356"/>
                    </a:lnTo>
                    <a:lnTo>
                      <a:pt x="126" y="576"/>
                    </a:lnTo>
                    <a:lnTo>
                      <a:pt x="166" y="600"/>
                    </a:lnTo>
                    <a:lnTo>
                      <a:pt x="166" y="540"/>
                    </a:lnTo>
                    <a:lnTo>
                      <a:pt x="244" y="404"/>
                    </a:lnTo>
                    <a:lnTo>
                      <a:pt x="294" y="378"/>
                    </a:lnTo>
                    <a:lnTo>
                      <a:pt x="294" y="336"/>
                    </a:lnTo>
                    <a:lnTo>
                      <a:pt x="374" y="202"/>
                    </a:lnTo>
                    <a:lnTo>
                      <a:pt x="284" y="22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4" name="Freeform 3057"/>
              <p:cNvSpPr>
                <a:spLocks/>
              </p:cNvSpPr>
              <p:nvPr/>
            </p:nvSpPr>
            <p:spPr bwMode="auto">
              <a:xfrm>
                <a:off x="7352615" y="1516668"/>
                <a:ext cx="151701" cy="434531"/>
              </a:xfrm>
              <a:custGeom>
                <a:avLst/>
                <a:gdLst/>
                <a:ahLst/>
                <a:cxnLst>
                  <a:cxn ang="0">
                    <a:pos x="110" y="84"/>
                  </a:cxn>
                  <a:cxn ang="0">
                    <a:pos x="110" y="84"/>
                  </a:cxn>
                  <a:cxn ang="0">
                    <a:pos x="112" y="64"/>
                  </a:cxn>
                  <a:cxn ang="0">
                    <a:pos x="112" y="42"/>
                  </a:cxn>
                  <a:cxn ang="0">
                    <a:pos x="110" y="20"/>
                  </a:cxn>
                  <a:cxn ang="0">
                    <a:pos x="106" y="0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2"/>
                  </a:cxn>
                  <a:cxn ang="0">
                    <a:pos x="40" y="174"/>
                  </a:cxn>
                  <a:cxn ang="0">
                    <a:pos x="80" y="318"/>
                  </a:cxn>
                  <a:cxn ang="0">
                    <a:pos x="86" y="338"/>
                  </a:cxn>
                  <a:cxn ang="0">
                    <a:pos x="86" y="338"/>
                  </a:cxn>
                  <a:cxn ang="0">
                    <a:pos x="118" y="330"/>
                  </a:cxn>
                  <a:cxn ang="0">
                    <a:pos x="118" y="330"/>
                  </a:cxn>
                  <a:cxn ang="0">
                    <a:pos x="110" y="302"/>
                  </a:cxn>
                  <a:cxn ang="0">
                    <a:pos x="106" y="270"/>
                  </a:cxn>
                  <a:cxn ang="0">
                    <a:pos x="104" y="234"/>
                  </a:cxn>
                  <a:cxn ang="0">
                    <a:pos x="104" y="198"/>
                  </a:cxn>
                  <a:cxn ang="0">
                    <a:pos x="106" y="132"/>
                  </a:cxn>
                  <a:cxn ang="0">
                    <a:pos x="108" y="104"/>
                  </a:cxn>
                  <a:cxn ang="0">
                    <a:pos x="110" y="84"/>
                  </a:cxn>
                  <a:cxn ang="0">
                    <a:pos x="110" y="84"/>
                  </a:cxn>
                </a:cxnLst>
                <a:rect l="0" t="0" r="r" b="b"/>
                <a:pathLst>
                  <a:path w="118" h="338">
                    <a:moveTo>
                      <a:pt x="110" y="84"/>
                    </a:moveTo>
                    <a:lnTo>
                      <a:pt x="110" y="84"/>
                    </a:lnTo>
                    <a:lnTo>
                      <a:pt x="112" y="64"/>
                    </a:lnTo>
                    <a:lnTo>
                      <a:pt x="112" y="42"/>
                    </a:lnTo>
                    <a:lnTo>
                      <a:pt x="110" y="20"/>
                    </a:lnTo>
                    <a:lnTo>
                      <a:pt x="106" y="0"/>
                    </a:lnTo>
                    <a:lnTo>
                      <a:pt x="0" y="40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40" y="174"/>
                    </a:lnTo>
                    <a:lnTo>
                      <a:pt x="80" y="318"/>
                    </a:lnTo>
                    <a:lnTo>
                      <a:pt x="86" y="338"/>
                    </a:lnTo>
                    <a:lnTo>
                      <a:pt x="86" y="338"/>
                    </a:lnTo>
                    <a:lnTo>
                      <a:pt x="118" y="330"/>
                    </a:lnTo>
                    <a:lnTo>
                      <a:pt x="118" y="330"/>
                    </a:lnTo>
                    <a:lnTo>
                      <a:pt x="110" y="302"/>
                    </a:lnTo>
                    <a:lnTo>
                      <a:pt x="106" y="270"/>
                    </a:lnTo>
                    <a:lnTo>
                      <a:pt x="104" y="234"/>
                    </a:lnTo>
                    <a:lnTo>
                      <a:pt x="104" y="198"/>
                    </a:lnTo>
                    <a:lnTo>
                      <a:pt x="106" y="132"/>
                    </a:lnTo>
                    <a:lnTo>
                      <a:pt x="108" y="104"/>
                    </a:lnTo>
                    <a:lnTo>
                      <a:pt x="110" y="84"/>
                    </a:lnTo>
                    <a:lnTo>
                      <a:pt x="110" y="8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5" name="Freeform 3058"/>
              <p:cNvSpPr>
                <a:spLocks/>
              </p:cNvSpPr>
              <p:nvPr/>
            </p:nvSpPr>
            <p:spPr bwMode="auto">
              <a:xfrm>
                <a:off x="7486317" y="1462674"/>
                <a:ext cx="251976" cy="478241"/>
              </a:xfrm>
              <a:custGeom>
                <a:avLst/>
                <a:gdLst/>
                <a:ahLst/>
                <a:cxnLst>
                  <a:cxn ang="0">
                    <a:pos x="156" y="224"/>
                  </a:cxn>
                  <a:cxn ang="0">
                    <a:pos x="30" y="6"/>
                  </a:cxn>
                  <a:cxn ang="0">
                    <a:pos x="30" y="4"/>
                  </a:cxn>
                  <a:cxn ang="0">
                    <a:pos x="156" y="222"/>
                  </a:cxn>
                  <a:cxn ang="0">
                    <a:pos x="30" y="0"/>
                  </a:cxn>
                  <a:cxn ang="0">
                    <a:pos x="16" y="36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6" y="62"/>
                  </a:cxn>
                  <a:cxn ang="0">
                    <a:pos x="8" y="84"/>
                  </a:cxn>
                  <a:cxn ang="0">
                    <a:pos x="8" y="106"/>
                  </a:cxn>
                  <a:cxn ang="0">
                    <a:pos x="6" y="126"/>
                  </a:cxn>
                  <a:cxn ang="0">
                    <a:pos x="6" y="126"/>
                  </a:cxn>
                  <a:cxn ang="0">
                    <a:pos x="4" y="146"/>
                  </a:cxn>
                  <a:cxn ang="0">
                    <a:pos x="2" y="174"/>
                  </a:cxn>
                  <a:cxn ang="0">
                    <a:pos x="0" y="240"/>
                  </a:cxn>
                  <a:cxn ang="0">
                    <a:pos x="0" y="276"/>
                  </a:cxn>
                  <a:cxn ang="0">
                    <a:pos x="2" y="312"/>
                  </a:cxn>
                  <a:cxn ang="0">
                    <a:pos x="6" y="344"/>
                  </a:cxn>
                  <a:cxn ang="0">
                    <a:pos x="14" y="372"/>
                  </a:cxn>
                  <a:cxn ang="0">
                    <a:pos x="14" y="372"/>
                  </a:cxn>
                  <a:cxn ang="0">
                    <a:pos x="44" y="362"/>
                  </a:cxn>
                  <a:cxn ang="0">
                    <a:pos x="74" y="350"/>
                  </a:cxn>
                  <a:cxn ang="0">
                    <a:pos x="100" y="334"/>
                  </a:cxn>
                  <a:cxn ang="0">
                    <a:pos x="114" y="326"/>
                  </a:cxn>
                  <a:cxn ang="0">
                    <a:pos x="124" y="316"/>
                  </a:cxn>
                  <a:cxn ang="0">
                    <a:pos x="124" y="316"/>
                  </a:cxn>
                  <a:cxn ang="0">
                    <a:pos x="134" y="308"/>
                  </a:cxn>
                  <a:cxn ang="0">
                    <a:pos x="144" y="300"/>
                  </a:cxn>
                  <a:cxn ang="0">
                    <a:pos x="154" y="296"/>
                  </a:cxn>
                  <a:cxn ang="0">
                    <a:pos x="164" y="292"/>
                  </a:cxn>
                  <a:cxn ang="0">
                    <a:pos x="182" y="288"/>
                  </a:cxn>
                  <a:cxn ang="0">
                    <a:pos x="196" y="288"/>
                  </a:cxn>
                  <a:cxn ang="0">
                    <a:pos x="196" y="250"/>
                  </a:cxn>
                  <a:cxn ang="0">
                    <a:pos x="156" y="224"/>
                  </a:cxn>
                </a:cxnLst>
                <a:rect l="0" t="0" r="r" b="b"/>
                <a:pathLst>
                  <a:path w="196" h="372">
                    <a:moveTo>
                      <a:pt x="156" y="224"/>
                    </a:moveTo>
                    <a:lnTo>
                      <a:pt x="30" y="6"/>
                    </a:lnTo>
                    <a:lnTo>
                      <a:pt x="30" y="4"/>
                    </a:lnTo>
                    <a:lnTo>
                      <a:pt x="156" y="222"/>
                    </a:lnTo>
                    <a:lnTo>
                      <a:pt x="30" y="0"/>
                    </a:lnTo>
                    <a:lnTo>
                      <a:pt x="16" y="36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6" y="62"/>
                    </a:lnTo>
                    <a:lnTo>
                      <a:pt x="8" y="84"/>
                    </a:lnTo>
                    <a:lnTo>
                      <a:pt x="8" y="106"/>
                    </a:lnTo>
                    <a:lnTo>
                      <a:pt x="6" y="126"/>
                    </a:lnTo>
                    <a:lnTo>
                      <a:pt x="6" y="126"/>
                    </a:lnTo>
                    <a:lnTo>
                      <a:pt x="4" y="146"/>
                    </a:lnTo>
                    <a:lnTo>
                      <a:pt x="2" y="174"/>
                    </a:lnTo>
                    <a:lnTo>
                      <a:pt x="0" y="240"/>
                    </a:lnTo>
                    <a:lnTo>
                      <a:pt x="0" y="276"/>
                    </a:lnTo>
                    <a:lnTo>
                      <a:pt x="2" y="312"/>
                    </a:lnTo>
                    <a:lnTo>
                      <a:pt x="6" y="344"/>
                    </a:lnTo>
                    <a:lnTo>
                      <a:pt x="14" y="372"/>
                    </a:lnTo>
                    <a:lnTo>
                      <a:pt x="14" y="372"/>
                    </a:lnTo>
                    <a:lnTo>
                      <a:pt x="44" y="362"/>
                    </a:lnTo>
                    <a:lnTo>
                      <a:pt x="74" y="350"/>
                    </a:lnTo>
                    <a:lnTo>
                      <a:pt x="100" y="334"/>
                    </a:lnTo>
                    <a:lnTo>
                      <a:pt x="114" y="326"/>
                    </a:lnTo>
                    <a:lnTo>
                      <a:pt x="124" y="316"/>
                    </a:lnTo>
                    <a:lnTo>
                      <a:pt x="124" y="316"/>
                    </a:lnTo>
                    <a:lnTo>
                      <a:pt x="134" y="308"/>
                    </a:lnTo>
                    <a:lnTo>
                      <a:pt x="144" y="300"/>
                    </a:lnTo>
                    <a:lnTo>
                      <a:pt x="154" y="296"/>
                    </a:lnTo>
                    <a:lnTo>
                      <a:pt x="164" y="292"/>
                    </a:lnTo>
                    <a:lnTo>
                      <a:pt x="182" y="288"/>
                    </a:lnTo>
                    <a:lnTo>
                      <a:pt x="196" y="288"/>
                    </a:lnTo>
                    <a:lnTo>
                      <a:pt x="196" y="250"/>
                    </a:lnTo>
                    <a:lnTo>
                      <a:pt x="156" y="22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6" name="Freeform 3059"/>
              <p:cNvSpPr>
                <a:spLocks/>
              </p:cNvSpPr>
              <p:nvPr/>
            </p:nvSpPr>
            <p:spPr bwMode="auto">
              <a:xfrm>
                <a:off x="7481174" y="1971769"/>
                <a:ext cx="213409" cy="233978"/>
              </a:xfrm>
              <a:custGeom>
                <a:avLst/>
                <a:gdLst/>
                <a:ahLst/>
                <a:cxnLst>
                  <a:cxn ang="0">
                    <a:pos x="2" y="46"/>
                  </a:cxn>
                  <a:cxn ang="0">
                    <a:pos x="12" y="128"/>
                  </a:cxn>
                  <a:cxn ang="0">
                    <a:pos x="64" y="182"/>
                  </a:cxn>
                  <a:cxn ang="0">
                    <a:pos x="60" y="178"/>
                  </a:cxn>
                  <a:cxn ang="0">
                    <a:pos x="64" y="182"/>
                  </a:cxn>
                  <a:cxn ang="0">
                    <a:pos x="66" y="178"/>
                  </a:cxn>
                  <a:cxn ang="0">
                    <a:pos x="150" y="138"/>
                  </a:cxn>
                  <a:cxn ang="0">
                    <a:pos x="164" y="138"/>
                  </a:cxn>
                  <a:cxn ang="0">
                    <a:pos x="166" y="138"/>
                  </a:cxn>
                  <a:cxn ang="0">
                    <a:pos x="138" y="0"/>
                  </a:cxn>
                  <a:cxn ang="0">
                    <a:pos x="0" y="44"/>
                  </a:cxn>
                  <a:cxn ang="0">
                    <a:pos x="2" y="46"/>
                  </a:cxn>
                </a:cxnLst>
                <a:rect l="0" t="0" r="r" b="b"/>
                <a:pathLst>
                  <a:path w="166" h="182">
                    <a:moveTo>
                      <a:pt x="2" y="46"/>
                    </a:moveTo>
                    <a:lnTo>
                      <a:pt x="12" y="128"/>
                    </a:lnTo>
                    <a:lnTo>
                      <a:pt x="64" y="182"/>
                    </a:lnTo>
                    <a:lnTo>
                      <a:pt x="60" y="178"/>
                    </a:lnTo>
                    <a:lnTo>
                      <a:pt x="64" y="182"/>
                    </a:lnTo>
                    <a:lnTo>
                      <a:pt x="66" y="178"/>
                    </a:lnTo>
                    <a:lnTo>
                      <a:pt x="150" y="138"/>
                    </a:lnTo>
                    <a:lnTo>
                      <a:pt x="164" y="138"/>
                    </a:lnTo>
                    <a:lnTo>
                      <a:pt x="166" y="138"/>
                    </a:lnTo>
                    <a:lnTo>
                      <a:pt x="138" y="0"/>
                    </a:lnTo>
                    <a:lnTo>
                      <a:pt x="0" y="44"/>
                    </a:lnTo>
                    <a:lnTo>
                      <a:pt x="2" y="4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7" name="Freeform 3060"/>
              <p:cNvSpPr>
                <a:spLocks/>
              </p:cNvSpPr>
              <p:nvPr/>
            </p:nvSpPr>
            <p:spPr bwMode="auto">
              <a:xfrm>
                <a:off x="7460606" y="1835496"/>
                <a:ext cx="429388" cy="195410"/>
              </a:xfrm>
              <a:custGeom>
                <a:avLst/>
                <a:gdLst/>
                <a:ahLst/>
                <a:cxnLst>
                  <a:cxn ang="0">
                    <a:pos x="292" y="16"/>
                  </a:cxn>
                  <a:cxn ang="0">
                    <a:pos x="264" y="68"/>
                  </a:cxn>
                  <a:cxn ang="0">
                    <a:pos x="214" y="2"/>
                  </a:cxn>
                  <a:cxn ang="0">
                    <a:pos x="214" y="0"/>
                  </a:cxn>
                  <a:cxn ang="0">
                    <a:pos x="214" y="0"/>
                  </a:cxn>
                  <a:cxn ang="0">
                    <a:pos x="202" y="0"/>
                  </a:cxn>
                  <a:cxn ang="0">
                    <a:pos x="184" y="2"/>
                  </a:cxn>
                  <a:cxn ang="0">
                    <a:pos x="174" y="6"/>
                  </a:cxn>
                  <a:cxn ang="0">
                    <a:pos x="162" y="12"/>
                  </a:cxn>
                  <a:cxn ang="0">
                    <a:pos x="152" y="18"/>
                  </a:cxn>
                  <a:cxn ang="0">
                    <a:pos x="142" y="26"/>
                  </a:cxn>
                  <a:cxn ang="0">
                    <a:pos x="142" y="26"/>
                  </a:cxn>
                  <a:cxn ang="0">
                    <a:pos x="128" y="38"/>
                  </a:cxn>
                  <a:cxn ang="0">
                    <a:pos x="112" y="50"/>
                  </a:cxn>
                  <a:cxn ang="0">
                    <a:pos x="96" y="60"/>
                  </a:cxn>
                  <a:cxn ang="0">
                    <a:pos x="76" y="68"/>
                  </a:cxn>
                  <a:cxn ang="0">
                    <a:pos x="38" y="82"/>
                  </a:cxn>
                  <a:cxn ang="0">
                    <a:pos x="0" y="90"/>
                  </a:cxn>
                  <a:cxn ang="0">
                    <a:pos x="16" y="150"/>
                  </a:cxn>
                  <a:cxn ang="0">
                    <a:pos x="154" y="106"/>
                  </a:cxn>
                  <a:cxn ang="0">
                    <a:pos x="154" y="102"/>
                  </a:cxn>
                  <a:cxn ang="0">
                    <a:pos x="170" y="96"/>
                  </a:cxn>
                  <a:cxn ang="0">
                    <a:pos x="206" y="82"/>
                  </a:cxn>
                  <a:cxn ang="0">
                    <a:pos x="242" y="122"/>
                  </a:cxn>
                  <a:cxn ang="0">
                    <a:pos x="244" y="122"/>
                  </a:cxn>
                  <a:cxn ang="0">
                    <a:pos x="254" y="152"/>
                  </a:cxn>
                  <a:cxn ang="0">
                    <a:pos x="334" y="152"/>
                  </a:cxn>
                  <a:cxn ang="0">
                    <a:pos x="334" y="84"/>
                  </a:cxn>
                  <a:cxn ang="0">
                    <a:pos x="292" y="16"/>
                  </a:cxn>
                </a:cxnLst>
                <a:rect l="0" t="0" r="r" b="b"/>
                <a:pathLst>
                  <a:path w="334" h="152">
                    <a:moveTo>
                      <a:pt x="292" y="16"/>
                    </a:moveTo>
                    <a:lnTo>
                      <a:pt x="264" y="68"/>
                    </a:lnTo>
                    <a:lnTo>
                      <a:pt x="214" y="2"/>
                    </a:lnTo>
                    <a:lnTo>
                      <a:pt x="214" y="0"/>
                    </a:lnTo>
                    <a:lnTo>
                      <a:pt x="214" y="0"/>
                    </a:lnTo>
                    <a:lnTo>
                      <a:pt x="202" y="0"/>
                    </a:lnTo>
                    <a:lnTo>
                      <a:pt x="184" y="2"/>
                    </a:lnTo>
                    <a:lnTo>
                      <a:pt x="174" y="6"/>
                    </a:lnTo>
                    <a:lnTo>
                      <a:pt x="162" y="12"/>
                    </a:lnTo>
                    <a:lnTo>
                      <a:pt x="152" y="18"/>
                    </a:lnTo>
                    <a:lnTo>
                      <a:pt x="142" y="26"/>
                    </a:lnTo>
                    <a:lnTo>
                      <a:pt x="142" y="26"/>
                    </a:lnTo>
                    <a:lnTo>
                      <a:pt x="128" y="38"/>
                    </a:lnTo>
                    <a:lnTo>
                      <a:pt x="112" y="50"/>
                    </a:lnTo>
                    <a:lnTo>
                      <a:pt x="96" y="60"/>
                    </a:lnTo>
                    <a:lnTo>
                      <a:pt x="76" y="68"/>
                    </a:lnTo>
                    <a:lnTo>
                      <a:pt x="38" y="82"/>
                    </a:lnTo>
                    <a:lnTo>
                      <a:pt x="0" y="90"/>
                    </a:lnTo>
                    <a:lnTo>
                      <a:pt x="16" y="150"/>
                    </a:lnTo>
                    <a:lnTo>
                      <a:pt x="154" y="106"/>
                    </a:lnTo>
                    <a:lnTo>
                      <a:pt x="154" y="102"/>
                    </a:lnTo>
                    <a:lnTo>
                      <a:pt x="170" y="96"/>
                    </a:lnTo>
                    <a:lnTo>
                      <a:pt x="206" y="82"/>
                    </a:lnTo>
                    <a:lnTo>
                      <a:pt x="242" y="122"/>
                    </a:lnTo>
                    <a:lnTo>
                      <a:pt x="244" y="122"/>
                    </a:lnTo>
                    <a:lnTo>
                      <a:pt x="254" y="152"/>
                    </a:lnTo>
                    <a:lnTo>
                      <a:pt x="334" y="152"/>
                    </a:lnTo>
                    <a:lnTo>
                      <a:pt x="334" y="84"/>
                    </a:lnTo>
                    <a:lnTo>
                      <a:pt x="292" y="1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8" name="Freeform 2853"/>
              <p:cNvSpPr>
                <a:spLocks/>
              </p:cNvSpPr>
              <p:nvPr/>
            </p:nvSpPr>
            <p:spPr bwMode="auto">
              <a:xfrm>
                <a:off x="7695022" y="2153639"/>
                <a:ext cx="2571" cy="25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9" name="Freeform 2854"/>
              <p:cNvSpPr>
                <a:spLocks/>
              </p:cNvSpPr>
              <p:nvPr/>
            </p:nvSpPr>
            <p:spPr bwMode="auto">
              <a:xfrm>
                <a:off x="2751006" y="3282304"/>
                <a:ext cx="745587" cy="1007828"/>
              </a:xfrm>
              <a:custGeom>
                <a:avLst/>
                <a:gdLst/>
                <a:ahLst/>
                <a:cxnLst>
                  <a:cxn ang="0">
                    <a:pos x="128" y="0"/>
                  </a:cxn>
                  <a:cxn ang="0">
                    <a:pos x="112" y="120"/>
                  </a:cxn>
                  <a:cxn ang="0">
                    <a:pos x="72" y="106"/>
                  </a:cxn>
                  <a:cxn ang="0">
                    <a:pos x="42" y="254"/>
                  </a:cxn>
                  <a:cxn ang="0">
                    <a:pos x="74" y="350"/>
                  </a:cxn>
                  <a:cxn ang="0">
                    <a:pos x="62" y="364"/>
                  </a:cxn>
                  <a:cxn ang="0">
                    <a:pos x="12" y="472"/>
                  </a:cxn>
                  <a:cxn ang="0">
                    <a:pos x="24" y="526"/>
                  </a:cxn>
                  <a:cxn ang="0">
                    <a:pos x="0" y="568"/>
                  </a:cxn>
                  <a:cxn ang="0">
                    <a:pos x="362" y="768"/>
                  </a:cxn>
                  <a:cxn ang="0">
                    <a:pos x="538" y="784"/>
                  </a:cxn>
                  <a:cxn ang="0">
                    <a:pos x="580" y="80"/>
                  </a:cxn>
                  <a:cxn ang="0">
                    <a:pos x="128" y="0"/>
                  </a:cxn>
                </a:cxnLst>
                <a:rect l="0" t="0" r="r" b="b"/>
                <a:pathLst>
                  <a:path w="580" h="784">
                    <a:moveTo>
                      <a:pt x="128" y="0"/>
                    </a:moveTo>
                    <a:lnTo>
                      <a:pt x="112" y="120"/>
                    </a:lnTo>
                    <a:lnTo>
                      <a:pt x="72" y="106"/>
                    </a:lnTo>
                    <a:lnTo>
                      <a:pt x="42" y="254"/>
                    </a:lnTo>
                    <a:lnTo>
                      <a:pt x="74" y="350"/>
                    </a:lnTo>
                    <a:lnTo>
                      <a:pt x="62" y="364"/>
                    </a:lnTo>
                    <a:lnTo>
                      <a:pt x="12" y="472"/>
                    </a:lnTo>
                    <a:lnTo>
                      <a:pt x="24" y="526"/>
                    </a:lnTo>
                    <a:lnTo>
                      <a:pt x="0" y="568"/>
                    </a:lnTo>
                    <a:lnTo>
                      <a:pt x="362" y="768"/>
                    </a:lnTo>
                    <a:lnTo>
                      <a:pt x="538" y="784"/>
                    </a:lnTo>
                    <a:lnTo>
                      <a:pt x="580" y="80"/>
                    </a:lnTo>
                    <a:lnTo>
                      <a:pt x="128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40" name="Freeform 2855"/>
              <p:cNvSpPr>
                <a:spLocks/>
              </p:cNvSpPr>
              <p:nvPr/>
            </p:nvSpPr>
            <p:spPr bwMode="auto">
              <a:xfrm>
                <a:off x="5381130" y="3945620"/>
                <a:ext cx="719878" cy="601612"/>
              </a:xfrm>
              <a:custGeom>
                <a:avLst/>
                <a:gdLst/>
                <a:ahLst/>
                <a:cxnLst>
                  <a:cxn ang="0">
                    <a:pos x="276" y="240"/>
                  </a:cxn>
                  <a:cxn ang="0">
                    <a:pos x="310" y="90"/>
                  </a:cxn>
                  <a:cxn ang="0">
                    <a:pos x="280" y="0"/>
                  </a:cxn>
                  <a:cxn ang="0">
                    <a:pos x="0" y="20"/>
                  </a:cxn>
                  <a:cxn ang="0">
                    <a:pos x="16" y="154"/>
                  </a:cxn>
                  <a:cxn ang="0">
                    <a:pos x="84" y="274"/>
                  </a:cxn>
                  <a:cxn ang="0">
                    <a:pos x="76" y="372"/>
                  </a:cxn>
                  <a:cxn ang="0">
                    <a:pos x="62" y="416"/>
                  </a:cxn>
                  <a:cxn ang="0">
                    <a:pos x="174" y="440"/>
                  </a:cxn>
                  <a:cxn ang="0">
                    <a:pos x="282" y="426"/>
                  </a:cxn>
                  <a:cxn ang="0">
                    <a:pos x="264" y="468"/>
                  </a:cxn>
                  <a:cxn ang="0">
                    <a:pos x="354" y="468"/>
                  </a:cxn>
                  <a:cxn ang="0">
                    <a:pos x="390" y="426"/>
                  </a:cxn>
                  <a:cxn ang="0">
                    <a:pos x="412" y="454"/>
                  </a:cxn>
                  <a:cxn ang="0">
                    <a:pos x="480" y="400"/>
                  </a:cxn>
                  <a:cxn ang="0">
                    <a:pos x="502" y="454"/>
                  </a:cxn>
                  <a:cxn ang="0">
                    <a:pos x="540" y="454"/>
                  </a:cxn>
                  <a:cxn ang="0">
                    <a:pos x="560" y="412"/>
                  </a:cxn>
                  <a:cxn ang="0">
                    <a:pos x="512" y="344"/>
                  </a:cxn>
                  <a:cxn ang="0">
                    <a:pos x="480" y="304"/>
                  </a:cxn>
                  <a:cxn ang="0">
                    <a:pos x="486" y="302"/>
                  </a:cxn>
                  <a:cxn ang="0">
                    <a:pos x="448" y="230"/>
                  </a:cxn>
                  <a:cxn ang="0">
                    <a:pos x="276" y="240"/>
                  </a:cxn>
                </a:cxnLst>
                <a:rect l="0" t="0" r="r" b="b"/>
                <a:pathLst>
                  <a:path w="560" h="468">
                    <a:moveTo>
                      <a:pt x="276" y="240"/>
                    </a:moveTo>
                    <a:lnTo>
                      <a:pt x="310" y="90"/>
                    </a:lnTo>
                    <a:lnTo>
                      <a:pt x="280" y="0"/>
                    </a:lnTo>
                    <a:lnTo>
                      <a:pt x="0" y="20"/>
                    </a:lnTo>
                    <a:lnTo>
                      <a:pt x="16" y="154"/>
                    </a:lnTo>
                    <a:lnTo>
                      <a:pt x="84" y="274"/>
                    </a:lnTo>
                    <a:lnTo>
                      <a:pt x="76" y="372"/>
                    </a:lnTo>
                    <a:lnTo>
                      <a:pt x="62" y="416"/>
                    </a:lnTo>
                    <a:lnTo>
                      <a:pt x="174" y="440"/>
                    </a:lnTo>
                    <a:lnTo>
                      <a:pt x="282" y="426"/>
                    </a:lnTo>
                    <a:lnTo>
                      <a:pt x="264" y="468"/>
                    </a:lnTo>
                    <a:lnTo>
                      <a:pt x="354" y="468"/>
                    </a:lnTo>
                    <a:lnTo>
                      <a:pt x="390" y="426"/>
                    </a:lnTo>
                    <a:lnTo>
                      <a:pt x="412" y="454"/>
                    </a:lnTo>
                    <a:lnTo>
                      <a:pt x="480" y="400"/>
                    </a:lnTo>
                    <a:lnTo>
                      <a:pt x="502" y="454"/>
                    </a:lnTo>
                    <a:lnTo>
                      <a:pt x="540" y="454"/>
                    </a:lnTo>
                    <a:lnTo>
                      <a:pt x="560" y="412"/>
                    </a:lnTo>
                    <a:lnTo>
                      <a:pt x="512" y="344"/>
                    </a:lnTo>
                    <a:lnTo>
                      <a:pt x="480" y="304"/>
                    </a:lnTo>
                    <a:lnTo>
                      <a:pt x="486" y="302"/>
                    </a:lnTo>
                    <a:lnTo>
                      <a:pt x="448" y="230"/>
                    </a:lnTo>
                    <a:lnTo>
                      <a:pt x="276" y="24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41" name="Freeform 2856"/>
              <p:cNvSpPr>
                <a:spLocks/>
              </p:cNvSpPr>
              <p:nvPr/>
            </p:nvSpPr>
            <p:spPr bwMode="auto">
              <a:xfrm>
                <a:off x="3452887" y="3385144"/>
                <a:ext cx="812433" cy="915273"/>
              </a:xfrm>
              <a:custGeom>
                <a:avLst/>
                <a:gdLst/>
                <a:ahLst/>
                <a:cxnLst>
                  <a:cxn ang="0">
                    <a:pos x="254" y="634"/>
                  </a:cxn>
                  <a:cxn ang="0">
                    <a:pos x="620" y="642"/>
                  </a:cxn>
                  <a:cxn ang="0">
                    <a:pos x="612" y="82"/>
                  </a:cxn>
                  <a:cxn ang="0">
                    <a:pos x="632" y="82"/>
                  </a:cxn>
                  <a:cxn ang="0">
                    <a:pos x="632" y="14"/>
                  </a:cxn>
                  <a:cxn ang="0">
                    <a:pos x="40" y="0"/>
                  </a:cxn>
                  <a:cxn ang="0">
                    <a:pos x="0" y="704"/>
                  </a:cxn>
                  <a:cxn ang="0">
                    <a:pos x="104" y="712"/>
                  </a:cxn>
                  <a:cxn ang="0">
                    <a:pos x="104" y="660"/>
                  </a:cxn>
                  <a:cxn ang="0">
                    <a:pos x="252" y="676"/>
                  </a:cxn>
                  <a:cxn ang="0">
                    <a:pos x="256" y="678"/>
                  </a:cxn>
                  <a:cxn ang="0">
                    <a:pos x="252" y="674"/>
                  </a:cxn>
                  <a:cxn ang="0">
                    <a:pos x="254" y="634"/>
                  </a:cxn>
                </a:cxnLst>
                <a:rect l="0" t="0" r="r" b="b"/>
                <a:pathLst>
                  <a:path w="632" h="712">
                    <a:moveTo>
                      <a:pt x="254" y="634"/>
                    </a:moveTo>
                    <a:lnTo>
                      <a:pt x="620" y="642"/>
                    </a:lnTo>
                    <a:lnTo>
                      <a:pt x="612" y="82"/>
                    </a:lnTo>
                    <a:lnTo>
                      <a:pt x="632" y="82"/>
                    </a:lnTo>
                    <a:lnTo>
                      <a:pt x="632" y="14"/>
                    </a:lnTo>
                    <a:lnTo>
                      <a:pt x="40" y="0"/>
                    </a:lnTo>
                    <a:lnTo>
                      <a:pt x="0" y="704"/>
                    </a:lnTo>
                    <a:lnTo>
                      <a:pt x="104" y="712"/>
                    </a:lnTo>
                    <a:lnTo>
                      <a:pt x="104" y="660"/>
                    </a:lnTo>
                    <a:lnTo>
                      <a:pt x="252" y="676"/>
                    </a:lnTo>
                    <a:lnTo>
                      <a:pt x="256" y="678"/>
                    </a:lnTo>
                    <a:lnTo>
                      <a:pt x="252" y="674"/>
                    </a:lnTo>
                    <a:lnTo>
                      <a:pt x="254" y="63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42" name="Freeform 2857"/>
              <p:cNvSpPr>
                <a:spLocks/>
              </p:cNvSpPr>
              <p:nvPr/>
            </p:nvSpPr>
            <p:spPr bwMode="auto">
              <a:xfrm>
                <a:off x="3784545" y="3487983"/>
                <a:ext cx="1699425" cy="1699425"/>
              </a:xfrm>
              <a:custGeom>
                <a:avLst/>
                <a:gdLst/>
                <a:ahLst/>
                <a:cxnLst>
                  <a:cxn ang="0">
                    <a:pos x="1312" y="726"/>
                  </a:cxn>
                  <a:cxn ang="0">
                    <a:pos x="1322" y="630"/>
                  </a:cxn>
                  <a:cxn ang="0">
                    <a:pos x="1252" y="512"/>
                  </a:cxn>
                  <a:cxn ang="0">
                    <a:pos x="1234" y="376"/>
                  </a:cxn>
                  <a:cxn ang="0">
                    <a:pos x="1234" y="376"/>
                  </a:cxn>
                  <a:cxn ang="0">
                    <a:pos x="1234" y="376"/>
                  </a:cxn>
                  <a:cxn ang="0">
                    <a:pos x="1230" y="338"/>
                  </a:cxn>
                  <a:cxn ang="0">
                    <a:pos x="1120" y="292"/>
                  </a:cxn>
                  <a:cxn ang="0">
                    <a:pos x="852" y="304"/>
                  </a:cxn>
                  <a:cxn ang="0">
                    <a:pos x="644" y="236"/>
                  </a:cxn>
                  <a:cxn ang="0">
                    <a:pos x="632" y="0"/>
                  </a:cxn>
                  <a:cxn ang="0">
                    <a:pos x="362" y="10"/>
                  </a:cxn>
                  <a:cxn ang="0">
                    <a:pos x="370" y="572"/>
                  </a:cxn>
                  <a:cxn ang="0">
                    <a:pos x="0" y="562"/>
                  </a:cxn>
                  <a:cxn ang="0">
                    <a:pos x="0" y="600"/>
                  </a:cxn>
                  <a:cxn ang="0">
                    <a:pos x="174" y="756"/>
                  </a:cxn>
                  <a:cxn ang="0">
                    <a:pos x="212" y="878"/>
                  </a:cxn>
                  <a:cxn ang="0">
                    <a:pos x="372" y="958"/>
                  </a:cxn>
                  <a:cxn ang="0">
                    <a:pos x="442" y="850"/>
                  </a:cxn>
                  <a:cxn ang="0">
                    <a:pos x="562" y="864"/>
                  </a:cxn>
                  <a:cxn ang="0">
                    <a:pos x="770" y="1254"/>
                  </a:cxn>
                  <a:cxn ang="0">
                    <a:pos x="978" y="1322"/>
                  </a:cxn>
                  <a:cxn ang="0">
                    <a:pos x="1008" y="1268"/>
                  </a:cxn>
                  <a:cxn ang="0">
                    <a:pos x="968" y="1146"/>
                  </a:cxn>
                  <a:cxn ang="0">
                    <a:pos x="968" y="1014"/>
                  </a:cxn>
                  <a:cxn ang="0">
                    <a:pos x="1286" y="768"/>
                  </a:cxn>
                  <a:cxn ang="0">
                    <a:pos x="1300" y="772"/>
                  </a:cxn>
                  <a:cxn ang="0">
                    <a:pos x="1298" y="770"/>
                  </a:cxn>
                  <a:cxn ang="0">
                    <a:pos x="1312" y="726"/>
                  </a:cxn>
                </a:cxnLst>
                <a:rect l="0" t="0" r="r" b="b"/>
                <a:pathLst>
                  <a:path w="1322" h="1322">
                    <a:moveTo>
                      <a:pt x="1312" y="726"/>
                    </a:moveTo>
                    <a:lnTo>
                      <a:pt x="1322" y="630"/>
                    </a:lnTo>
                    <a:lnTo>
                      <a:pt x="1252" y="512"/>
                    </a:lnTo>
                    <a:lnTo>
                      <a:pt x="1234" y="376"/>
                    </a:lnTo>
                    <a:lnTo>
                      <a:pt x="1234" y="376"/>
                    </a:lnTo>
                    <a:lnTo>
                      <a:pt x="1234" y="376"/>
                    </a:lnTo>
                    <a:lnTo>
                      <a:pt x="1230" y="338"/>
                    </a:lnTo>
                    <a:lnTo>
                      <a:pt x="1120" y="292"/>
                    </a:lnTo>
                    <a:lnTo>
                      <a:pt x="852" y="304"/>
                    </a:lnTo>
                    <a:lnTo>
                      <a:pt x="644" y="236"/>
                    </a:lnTo>
                    <a:lnTo>
                      <a:pt x="632" y="0"/>
                    </a:lnTo>
                    <a:lnTo>
                      <a:pt x="362" y="10"/>
                    </a:lnTo>
                    <a:lnTo>
                      <a:pt x="370" y="572"/>
                    </a:lnTo>
                    <a:lnTo>
                      <a:pt x="0" y="562"/>
                    </a:lnTo>
                    <a:lnTo>
                      <a:pt x="0" y="600"/>
                    </a:lnTo>
                    <a:lnTo>
                      <a:pt x="174" y="756"/>
                    </a:lnTo>
                    <a:lnTo>
                      <a:pt x="212" y="878"/>
                    </a:lnTo>
                    <a:lnTo>
                      <a:pt x="372" y="958"/>
                    </a:lnTo>
                    <a:lnTo>
                      <a:pt x="442" y="850"/>
                    </a:lnTo>
                    <a:lnTo>
                      <a:pt x="562" y="864"/>
                    </a:lnTo>
                    <a:lnTo>
                      <a:pt x="770" y="1254"/>
                    </a:lnTo>
                    <a:lnTo>
                      <a:pt x="978" y="1322"/>
                    </a:lnTo>
                    <a:lnTo>
                      <a:pt x="1008" y="1268"/>
                    </a:lnTo>
                    <a:lnTo>
                      <a:pt x="968" y="1146"/>
                    </a:lnTo>
                    <a:lnTo>
                      <a:pt x="968" y="1014"/>
                    </a:lnTo>
                    <a:lnTo>
                      <a:pt x="1286" y="768"/>
                    </a:lnTo>
                    <a:lnTo>
                      <a:pt x="1300" y="772"/>
                    </a:lnTo>
                    <a:lnTo>
                      <a:pt x="1298" y="770"/>
                    </a:lnTo>
                    <a:lnTo>
                      <a:pt x="1312" y="72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43" name="Freeform 2858"/>
              <p:cNvSpPr>
                <a:spLocks/>
              </p:cNvSpPr>
              <p:nvPr/>
            </p:nvSpPr>
            <p:spPr bwMode="auto">
              <a:xfrm>
                <a:off x="5283432" y="3426280"/>
                <a:ext cx="578473" cy="539908"/>
              </a:xfrm>
              <a:custGeom>
                <a:avLst/>
                <a:gdLst/>
                <a:ahLst/>
                <a:cxnLst>
                  <a:cxn ang="0">
                    <a:pos x="72" y="382"/>
                  </a:cxn>
                  <a:cxn ang="0">
                    <a:pos x="76" y="420"/>
                  </a:cxn>
                  <a:cxn ang="0">
                    <a:pos x="356" y="400"/>
                  </a:cxn>
                  <a:cxn ang="0">
                    <a:pos x="346" y="360"/>
                  </a:cxn>
                  <a:cxn ang="0">
                    <a:pos x="450" y="42"/>
                  </a:cxn>
                  <a:cxn ang="0">
                    <a:pos x="366" y="48"/>
                  </a:cxn>
                  <a:cxn ang="0">
                    <a:pos x="384" y="0"/>
                  </a:cxn>
                  <a:cxn ang="0">
                    <a:pos x="0" y="8"/>
                  </a:cxn>
                  <a:cxn ang="0">
                    <a:pos x="32" y="366"/>
                  </a:cxn>
                  <a:cxn ang="0">
                    <a:pos x="72" y="382"/>
                  </a:cxn>
                </a:cxnLst>
                <a:rect l="0" t="0" r="r" b="b"/>
                <a:pathLst>
                  <a:path w="450" h="420">
                    <a:moveTo>
                      <a:pt x="72" y="382"/>
                    </a:moveTo>
                    <a:lnTo>
                      <a:pt x="76" y="420"/>
                    </a:lnTo>
                    <a:lnTo>
                      <a:pt x="356" y="400"/>
                    </a:lnTo>
                    <a:lnTo>
                      <a:pt x="346" y="360"/>
                    </a:lnTo>
                    <a:lnTo>
                      <a:pt x="450" y="42"/>
                    </a:lnTo>
                    <a:lnTo>
                      <a:pt x="366" y="48"/>
                    </a:lnTo>
                    <a:lnTo>
                      <a:pt x="384" y="0"/>
                    </a:lnTo>
                    <a:lnTo>
                      <a:pt x="0" y="8"/>
                    </a:lnTo>
                    <a:lnTo>
                      <a:pt x="32" y="366"/>
                    </a:lnTo>
                    <a:lnTo>
                      <a:pt x="72" y="38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44" name="Freeform 2859"/>
              <p:cNvSpPr>
                <a:spLocks/>
              </p:cNvSpPr>
              <p:nvPr/>
            </p:nvSpPr>
            <p:spPr bwMode="auto">
              <a:xfrm>
                <a:off x="4273033" y="3367147"/>
                <a:ext cx="1038680" cy="524482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2" y="96"/>
                  </a:cxn>
                  <a:cxn ang="0">
                    <a:pos x="256" y="88"/>
                  </a:cxn>
                  <a:cxn ang="0">
                    <a:pos x="270" y="326"/>
                  </a:cxn>
                  <a:cxn ang="0">
                    <a:pos x="472" y="394"/>
                  </a:cxn>
                  <a:cxn ang="0">
                    <a:pos x="742" y="380"/>
                  </a:cxn>
                  <a:cxn ang="0">
                    <a:pos x="808" y="408"/>
                  </a:cxn>
                  <a:cxn ang="0">
                    <a:pos x="774" y="0"/>
                  </a:cxn>
                  <a:cxn ang="0">
                    <a:pos x="0" y="28"/>
                  </a:cxn>
                </a:cxnLst>
                <a:rect l="0" t="0" r="r" b="b"/>
                <a:pathLst>
                  <a:path w="808" h="408">
                    <a:moveTo>
                      <a:pt x="0" y="28"/>
                    </a:moveTo>
                    <a:lnTo>
                      <a:pt x="2" y="96"/>
                    </a:lnTo>
                    <a:lnTo>
                      <a:pt x="256" y="88"/>
                    </a:lnTo>
                    <a:lnTo>
                      <a:pt x="270" y="326"/>
                    </a:lnTo>
                    <a:lnTo>
                      <a:pt x="472" y="394"/>
                    </a:lnTo>
                    <a:lnTo>
                      <a:pt x="742" y="380"/>
                    </a:lnTo>
                    <a:lnTo>
                      <a:pt x="808" y="408"/>
                    </a:lnTo>
                    <a:lnTo>
                      <a:pt x="774" y="0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45" name="Freeform 2860"/>
              <p:cNvSpPr>
                <a:spLocks/>
              </p:cNvSpPr>
              <p:nvPr/>
            </p:nvSpPr>
            <p:spPr bwMode="auto">
              <a:xfrm>
                <a:off x="2915550" y="2521291"/>
                <a:ext cx="642748" cy="858711"/>
              </a:xfrm>
              <a:custGeom>
                <a:avLst/>
                <a:gdLst/>
                <a:ahLst/>
                <a:cxnLst>
                  <a:cxn ang="0">
                    <a:pos x="0" y="588"/>
                  </a:cxn>
                  <a:cxn ang="0">
                    <a:pos x="452" y="668"/>
                  </a:cxn>
                  <a:cxn ang="0">
                    <a:pos x="500" y="202"/>
                  </a:cxn>
                  <a:cxn ang="0">
                    <a:pos x="312" y="176"/>
                  </a:cxn>
                  <a:cxn ang="0">
                    <a:pos x="336" y="54"/>
                  </a:cxn>
                  <a:cxn ang="0">
                    <a:pos x="76" y="0"/>
                  </a:cxn>
                  <a:cxn ang="0">
                    <a:pos x="0" y="588"/>
                  </a:cxn>
                </a:cxnLst>
                <a:rect l="0" t="0" r="r" b="b"/>
                <a:pathLst>
                  <a:path w="500" h="668">
                    <a:moveTo>
                      <a:pt x="0" y="588"/>
                    </a:moveTo>
                    <a:lnTo>
                      <a:pt x="452" y="668"/>
                    </a:lnTo>
                    <a:lnTo>
                      <a:pt x="500" y="202"/>
                    </a:lnTo>
                    <a:lnTo>
                      <a:pt x="312" y="176"/>
                    </a:lnTo>
                    <a:lnTo>
                      <a:pt x="336" y="54"/>
                    </a:lnTo>
                    <a:lnTo>
                      <a:pt x="76" y="0"/>
                    </a:lnTo>
                    <a:lnTo>
                      <a:pt x="0" y="58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46" name="Freeform 2861"/>
              <p:cNvSpPr>
                <a:spLocks/>
              </p:cNvSpPr>
              <p:nvPr/>
            </p:nvSpPr>
            <p:spPr bwMode="auto">
              <a:xfrm>
                <a:off x="5545674" y="1618873"/>
                <a:ext cx="683884" cy="323945"/>
              </a:xfrm>
              <a:custGeom>
                <a:avLst/>
                <a:gdLst/>
                <a:ahLst/>
                <a:cxnLst>
                  <a:cxn ang="0">
                    <a:pos x="230" y="214"/>
                  </a:cxn>
                  <a:cxn ang="0">
                    <a:pos x="236" y="252"/>
                  </a:cxn>
                  <a:cxn ang="0">
                    <a:pos x="262" y="252"/>
                  </a:cxn>
                  <a:cxn ang="0">
                    <a:pos x="284" y="200"/>
                  </a:cxn>
                  <a:cxn ang="0">
                    <a:pos x="362" y="160"/>
                  </a:cxn>
                  <a:cxn ang="0">
                    <a:pos x="444" y="122"/>
                  </a:cxn>
                  <a:cxn ang="0">
                    <a:pos x="532" y="122"/>
                  </a:cxn>
                  <a:cxn ang="0">
                    <a:pos x="444" y="14"/>
                  </a:cxn>
                  <a:cxn ang="0">
                    <a:pos x="306" y="96"/>
                  </a:cxn>
                  <a:cxn ang="0">
                    <a:pos x="244" y="106"/>
                  </a:cxn>
                  <a:cxn ang="0">
                    <a:pos x="206" y="70"/>
                  </a:cxn>
                  <a:cxn ang="0">
                    <a:pos x="154" y="80"/>
                  </a:cxn>
                  <a:cxn ang="0">
                    <a:pos x="174" y="0"/>
                  </a:cxn>
                  <a:cxn ang="0">
                    <a:pos x="4" y="134"/>
                  </a:cxn>
                  <a:cxn ang="0">
                    <a:pos x="0" y="134"/>
                  </a:cxn>
                  <a:cxn ang="0">
                    <a:pos x="18" y="186"/>
                  </a:cxn>
                  <a:cxn ang="0">
                    <a:pos x="230" y="214"/>
                  </a:cxn>
                </a:cxnLst>
                <a:rect l="0" t="0" r="r" b="b"/>
                <a:pathLst>
                  <a:path w="532" h="252">
                    <a:moveTo>
                      <a:pt x="230" y="214"/>
                    </a:moveTo>
                    <a:lnTo>
                      <a:pt x="236" y="252"/>
                    </a:lnTo>
                    <a:lnTo>
                      <a:pt x="262" y="252"/>
                    </a:lnTo>
                    <a:lnTo>
                      <a:pt x="284" y="200"/>
                    </a:lnTo>
                    <a:lnTo>
                      <a:pt x="362" y="160"/>
                    </a:lnTo>
                    <a:lnTo>
                      <a:pt x="444" y="122"/>
                    </a:lnTo>
                    <a:lnTo>
                      <a:pt x="532" y="122"/>
                    </a:lnTo>
                    <a:lnTo>
                      <a:pt x="444" y="14"/>
                    </a:lnTo>
                    <a:lnTo>
                      <a:pt x="306" y="96"/>
                    </a:lnTo>
                    <a:lnTo>
                      <a:pt x="244" y="106"/>
                    </a:lnTo>
                    <a:lnTo>
                      <a:pt x="206" y="70"/>
                    </a:lnTo>
                    <a:lnTo>
                      <a:pt x="154" y="80"/>
                    </a:lnTo>
                    <a:lnTo>
                      <a:pt x="174" y="0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18" y="186"/>
                    </a:lnTo>
                    <a:lnTo>
                      <a:pt x="230" y="21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47" name="Freeform 2862"/>
              <p:cNvSpPr>
                <a:spLocks/>
              </p:cNvSpPr>
              <p:nvPr/>
            </p:nvSpPr>
            <p:spPr bwMode="auto">
              <a:xfrm>
                <a:off x="3504307" y="2780961"/>
                <a:ext cx="868995" cy="611896"/>
              </a:xfrm>
              <a:custGeom>
                <a:avLst/>
                <a:gdLst/>
                <a:ahLst/>
                <a:cxnLst>
                  <a:cxn ang="0">
                    <a:pos x="670" y="118"/>
                  </a:cxn>
                  <a:cxn ang="0">
                    <a:pos x="662" y="26"/>
                  </a:cxn>
                  <a:cxn ang="0">
                    <a:pos x="50" y="0"/>
                  </a:cxn>
                  <a:cxn ang="0">
                    <a:pos x="0" y="466"/>
                  </a:cxn>
                  <a:cxn ang="0">
                    <a:pos x="594" y="476"/>
                  </a:cxn>
                  <a:cxn ang="0">
                    <a:pos x="676" y="474"/>
                  </a:cxn>
                  <a:cxn ang="0">
                    <a:pos x="668" y="118"/>
                  </a:cxn>
                  <a:cxn ang="0">
                    <a:pos x="670" y="118"/>
                  </a:cxn>
                </a:cxnLst>
                <a:rect l="0" t="0" r="r" b="b"/>
                <a:pathLst>
                  <a:path w="676" h="476">
                    <a:moveTo>
                      <a:pt x="670" y="118"/>
                    </a:moveTo>
                    <a:lnTo>
                      <a:pt x="662" y="26"/>
                    </a:lnTo>
                    <a:lnTo>
                      <a:pt x="50" y="0"/>
                    </a:lnTo>
                    <a:lnTo>
                      <a:pt x="0" y="466"/>
                    </a:lnTo>
                    <a:lnTo>
                      <a:pt x="594" y="476"/>
                    </a:lnTo>
                    <a:lnTo>
                      <a:pt x="676" y="474"/>
                    </a:lnTo>
                    <a:lnTo>
                      <a:pt x="668" y="118"/>
                    </a:lnTo>
                    <a:lnTo>
                      <a:pt x="670" y="11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48" name="Freeform 2863"/>
              <p:cNvSpPr>
                <a:spLocks/>
              </p:cNvSpPr>
              <p:nvPr/>
            </p:nvSpPr>
            <p:spPr bwMode="auto">
              <a:xfrm>
                <a:off x="1884582" y="2266763"/>
                <a:ext cx="953838" cy="1745703"/>
              </a:xfrm>
              <a:custGeom>
                <a:avLst/>
                <a:gdLst/>
                <a:ahLst/>
                <a:cxnLst>
                  <a:cxn ang="0">
                    <a:pos x="694" y="1314"/>
                  </a:cxn>
                  <a:cxn ang="0">
                    <a:pos x="682" y="1260"/>
                  </a:cxn>
                  <a:cxn ang="0">
                    <a:pos x="732" y="1150"/>
                  </a:cxn>
                  <a:cxn ang="0">
                    <a:pos x="742" y="1140"/>
                  </a:cxn>
                  <a:cxn ang="0">
                    <a:pos x="712" y="1044"/>
                  </a:cxn>
                  <a:cxn ang="0">
                    <a:pos x="324" y="482"/>
                  </a:cxn>
                  <a:cxn ang="0">
                    <a:pos x="334" y="454"/>
                  </a:cxn>
                  <a:cxn ang="0">
                    <a:pos x="324" y="426"/>
                  </a:cxn>
                  <a:cxn ang="0">
                    <a:pos x="402" y="98"/>
                  </a:cxn>
                  <a:cxn ang="0">
                    <a:pos x="70" y="8"/>
                  </a:cxn>
                  <a:cxn ang="0">
                    <a:pos x="68" y="0"/>
                  </a:cxn>
                  <a:cxn ang="0">
                    <a:pos x="70" y="34"/>
                  </a:cxn>
                  <a:cxn ang="0">
                    <a:pos x="0" y="156"/>
                  </a:cxn>
                  <a:cxn ang="0">
                    <a:pos x="42" y="278"/>
                  </a:cxn>
                  <a:cxn ang="0">
                    <a:pos x="32" y="384"/>
                  </a:cxn>
                  <a:cxn ang="0">
                    <a:pos x="102" y="534"/>
                  </a:cxn>
                  <a:cxn ang="0">
                    <a:pos x="102" y="614"/>
                  </a:cxn>
                  <a:cxn ang="0">
                    <a:pos x="122" y="682"/>
                  </a:cxn>
                  <a:cxn ang="0">
                    <a:pos x="90" y="734"/>
                  </a:cxn>
                  <a:cxn ang="0">
                    <a:pos x="190" y="870"/>
                  </a:cxn>
                  <a:cxn ang="0">
                    <a:pos x="190" y="1006"/>
                  </a:cxn>
                  <a:cxn ang="0">
                    <a:pos x="360" y="1114"/>
                  </a:cxn>
                  <a:cxn ang="0">
                    <a:pos x="360" y="1178"/>
                  </a:cxn>
                  <a:cxn ang="0">
                    <a:pos x="450" y="1236"/>
                  </a:cxn>
                  <a:cxn ang="0">
                    <a:pos x="450" y="1342"/>
                  </a:cxn>
                  <a:cxn ang="0">
                    <a:pos x="668" y="1354"/>
                  </a:cxn>
                  <a:cxn ang="0">
                    <a:pos x="672" y="1358"/>
                  </a:cxn>
                  <a:cxn ang="0">
                    <a:pos x="668" y="1354"/>
                  </a:cxn>
                  <a:cxn ang="0">
                    <a:pos x="694" y="1314"/>
                  </a:cxn>
                </a:cxnLst>
                <a:rect l="0" t="0" r="r" b="b"/>
                <a:pathLst>
                  <a:path w="742" h="1358">
                    <a:moveTo>
                      <a:pt x="694" y="1314"/>
                    </a:moveTo>
                    <a:lnTo>
                      <a:pt x="682" y="1260"/>
                    </a:lnTo>
                    <a:lnTo>
                      <a:pt x="732" y="1150"/>
                    </a:lnTo>
                    <a:lnTo>
                      <a:pt x="742" y="1140"/>
                    </a:lnTo>
                    <a:lnTo>
                      <a:pt x="712" y="1044"/>
                    </a:lnTo>
                    <a:lnTo>
                      <a:pt x="324" y="482"/>
                    </a:lnTo>
                    <a:lnTo>
                      <a:pt x="334" y="454"/>
                    </a:lnTo>
                    <a:lnTo>
                      <a:pt x="324" y="426"/>
                    </a:lnTo>
                    <a:lnTo>
                      <a:pt x="402" y="98"/>
                    </a:lnTo>
                    <a:lnTo>
                      <a:pt x="70" y="8"/>
                    </a:lnTo>
                    <a:lnTo>
                      <a:pt x="68" y="0"/>
                    </a:lnTo>
                    <a:lnTo>
                      <a:pt x="70" y="34"/>
                    </a:lnTo>
                    <a:lnTo>
                      <a:pt x="0" y="156"/>
                    </a:lnTo>
                    <a:lnTo>
                      <a:pt x="42" y="278"/>
                    </a:lnTo>
                    <a:lnTo>
                      <a:pt x="32" y="384"/>
                    </a:lnTo>
                    <a:lnTo>
                      <a:pt x="102" y="534"/>
                    </a:lnTo>
                    <a:lnTo>
                      <a:pt x="102" y="614"/>
                    </a:lnTo>
                    <a:lnTo>
                      <a:pt x="122" y="682"/>
                    </a:lnTo>
                    <a:lnTo>
                      <a:pt x="90" y="734"/>
                    </a:lnTo>
                    <a:lnTo>
                      <a:pt x="190" y="870"/>
                    </a:lnTo>
                    <a:lnTo>
                      <a:pt x="190" y="1006"/>
                    </a:lnTo>
                    <a:lnTo>
                      <a:pt x="360" y="1114"/>
                    </a:lnTo>
                    <a:lnTo>
                      <a:pt x="360" y="1178"/>
                    </a:lnTo>
                    <a:lnTo>
                      <a:pt x="450" y="1236"/>
                    </a:lnTo>
                    <a:lnTo>
                      <a:pt x="450" y="1342"/>
                    </a:lnTo>
                    <a:lnTo>
                      <a:pt x="668" y="1354"/>
                    </a:lnTo>
                    <a:lnTo>
                      <a:pt x="672" y="1358"/>
                    </a:lnTo>
                    <a:lnTo>
                      <a:pt x="668" y="1354"/>
                    </a:lnTo>
                    <a:lnTo>
                      <a:pt x="694" y="131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49" name="Freeform 2864"/>
              <p:cNvSpPr>
                <a:spLocks/>
              </p:cNvSpPr>
              <p:nvPr/>
            </p:nvSpPr>
            <p:spPr bwMode="auto">
              <a:xfrm>
                <a:off x="3321766" y="2089364"/>
                <a:ext cx="843285" cy="707023"/>
              </a:xfrm>
              <a:custGeom>
                <a:avLst/>
                <a:gdLst/>
                <a:ahLst/>
                <a:cxnLst>
                  <a:cxn ang="0">
                    <a:pos x="26" y="388"/>
                  </a:cxn>
                  <a:cxn ang="0">
                    <a:pos x="28" y="388"/>
                  </a:cxn>
                  <a:cxn ang="0">
                    <a:pos x="0" y="508"/>
                  </a:cxn>
                  <a:cxn ang="0">
                    <a:pos x="192" y="536"/>
                  </a:cxn>
                  <a:cxn ang="0">
                    <a:pos x="650" y="550"/>
                  </a:cxn>
                  <a:cxn ang="0">
                    <a:pos x="656" y="40"/>
                  </a:cxn>
                  <a:cxn ang="0">
                    <a:pos x="64" y="0"/>
                  </a:cxn>
                  <a:cxn ang="0">
                    <a:pos x="26" y="388"/>
                  </a:cxn>
                </a:cxnLst>
                <a:rect l="0" t="0" r="r" b="b"/>
                <a:pathLst>
                  <a:path w="656" h="550">
                    <a:moveTo>
                      <a:pt x="26" y="388"/>
                    </a:moveTo>
                    <a:lnTo>
                      <a:pt x="28" y="388"/>
                    </a:lnTo>
                    <a:lnTo>
                      <a:pt x="0" y="508"/>
                    </a:lnTo>
                    <a:lnTo>
                      <a:pt x="192" y="536"/>
                    </a:lnTo>
                    <a:lnTo>
                      <a:pt x="650" y="550"/>
                    </a:lnTo>
                    <a:lnTo>
                      <a:pt x="656" y="40"/>
                    </a:lnTo>
                    <a:lnTo>
                      <a:pt x="64" y="0"/>
                    </a:lnTo>
                    <a:lnTo>
                      <a:pt x="26" y="38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50" name="Freeform 2865"/>
              <p:cNvSpPr>
                <a:spLocks/>
              </p:cNvSpPr>
              <p:nvPr/>
            </p:nvSpPr>
            <p:spPr bwMode="auto">
              <a:xfrm>
                <a:off x="5828483" y="3184606"/>
                <a:ext cx="979548" cy="416501"/>
              </a:xfrm>
              <a:custGeom>
                <a:avLst/>
                <a:gdLst/>
                <a:ahLst/>
                <a:cxnLst>
                  <a:cxn ang="0">
                    <a:pos x="206" y="304"/>
                  </a:cxn>
                  <a:cxn ang="0">
                    <a:pos x="554" y="246"/>
                  </a:cxn>
                  <a:cxn ang="0">
                    <a:pos x="580" y="154"/>
                  </a:cxn>
                  <a:cxn ang="0">
                    <a:pos x="752" y="30"/>
                  </a:cxn>
                  <a:cxn ang="0">
                    <a:pos x="762" y="0"/>
                  </a:cxn>
                  <a:cxn ang="0">
                    <a:pos x="762" y="0"/>
                  </a:cxn>
                  <a:cxn ang="0">
                    <a:pos x="332" y="88"/>
                  </a:cxn>
                  <a:cxn ang="0">
                    <a:pos x="54" y="134"/>
                  </a:cxn>
                  <a:cxn ang="0">
                    <a:pos x="32" y="134"/>
                  </a:cxn>
                  <a:cxn ang="0">
                    <a:pos x="32" y="230"/>
                  </a:cxn>
                  <a:cxn ang="0">
                    <a:pos x="30" y="230"/>
                  </a:cxn>
                  <a:cxn ang="0">
                    <a:pos x="0" y="324"/>
                  </a:cxn>
                  <a:cxn ang="0">
                    <a:pos x="206" y="304"/>
                  </a:cxn>
                </a:cxnLst>
                <a:rect l="0" t="0" r="r" b="b"/>
                <a:pathLst>
                  <a:path w="762" h="324">
                    <a:moveTo>
                      <a:pt x="206" y="304"/>
                    </a:moveTo>
                    <a:lnTo>
                      <a:pt x="554" y="246"/>
                    </a:lnTo>
                    <a:lnTo>
                      <a:pt x="580" y="154"/>
                    </a:lnTo>
                    <a:lnTo>
                      <a:pt x="752" y="30"/>
                    </a:lnTo>
                    <a:lnTo>
                      <a:pt x="762" y="0"/>
                    </a:lnTo>
                    <a:lnTo>
                      <a:pt x="762" y="0"/>
                    </a:lnTo>
                    <a:lnTo>
                      <a:pt x="332" y="88"/>
                    </a:lnTo>
                    <a:lnTo>
                      <a:pt x="54" y="134"/>
                    </a:lnTo>
                    <a:lnTo>
                      <a:pt x="32" y="134"/>
                    </a:lnTo>
                    <a:lnTo>
                      <a:pt x="32" y="230"/>
                    </a:lnTo>
                    <a:lnTo>
                      <a:pt x="30" y="230"/>
                    </a:lnTo>
                    <a:lnTo>
                      <a:pt x="0" y="324"/>
                    </a:lnTo>
                    <a:lnTo>
                      <a:pt x="206" y="30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51" name="Freeform 2866"/>
              <p:cNvSpPr>
                <a:spLocks/>
              </p:cNvSpPr>
              <p:nvPr/>
            </p:nvSpPr>
            <p:spPr bwMode="auto">
              <a:xfrm>
                <a:off x="6545789" y="2963501"/>
                <a:ext cx="1012971" cy="537337"/>
              </a:xfrm>
              <a:custGeom>
                <a:avLst/>
                <a:gdLst/>
                <a:ahLst/>
                <a:cxnLst>
                  <a:cxn ang="0">
                    <a:pos x="196" y="202"/>
                  </a:cxn>
                  <a:cxn ang="0">
                    <a:pos x="26" y="326"/>
                  </a:cxn>
                  <a:cxn ang="0">
                    <a:pos x="0" y="418"/>
                  </a:cxn>
                  <a:cxn ang="0">
                    <a:pos x="62" y="408"/>
                  </a:cxn>
                  <a:cxn ang="0">
                    <a:pos x="312" y="310"/>
                  </a:cxn>
                  <a:cxn ang="0">
                    <a:pos x="344" y="344"/>
                  </a:cxn>
                  <a:cxn ang="0">
                    <a:pos x="424" y="326"/>
                  </a:cxn>
                  <a:cxn ang="0">
                    <a:pos x="558" y="414"/>
                  </a:cxn>
                  <a:cxn ang="0">
                    <a:pos x="560" y="408"/>
                  </a:cxn>
                  <a:cxn ang="0">
                    <a:pos x="628" y="368"/>
                  </a:cxn>
                  <a:cxn ang="0">
                    <a:pos x="628" y="328"/>
                  </a:cxn>
                  <a:cxn ang="0">
                    <a:pos x="678" y="248"/>
                  </a:cxn>
                  <a:cxn ang="0">
                    <a:pos x="738" y="248"/>
                  </a:cxn>
                  <a:cxn ang="0">
                    <a:pos x="788" y="128"/>
                  </a:cxn>
                  <a:cxn ang="0">
                    <a:pos x="788" y="46"/>
                  </a:cxn>
                  <a:cxn ang="0">
                    <a:pos x="754" y="0"/>
                  </a:cxn>
                  <a:cxn ang="0">
                    <a:pos x="208" y="170"/>
                  </a:cxn>
                  <a:cxn ang="0">
                    <a:pos x="196" y="202"/>
                  </a:cxn>
                </a:cxnLst>
                <a:rect l="0" t="0" r="r" b="b"/>
                <a:pathLst>
                  <a:path w="788" h="418">
                    <a:moveTo>
                      <a:pt x="196" y="202"/>
                    </a:moveTo>
                    <a:lnTo>
                      <a:pt x="26" y="326"/>
                    </a:lnTo>
                    <a:lnTo>
                      <a:pt x="0" y="418"/>
                    </a:lnTo>
                    <a:lnTo>
                      <a:pt x="62" y="408"/>
                    </a:lnTo>
                    <a:lnTo>
                      <a:pt x="312" y="310"/>
                    </a:lnTo>
                    <a:lnTo>
                      <a:pt x="344" y="344"/>
                    </a:lnTo>
                    <a:lnTo>
                      <a:pt x="424" y="326"/>
                    </a:lnTo>
                    <a:lnTo>
                      <a:pt x="558" y="414"/>
                    </a:lnTo>
                    <a:lnTo>
                      <a:pt x="560" y="408"/>
                    </a:lnTo>
                    <a:lnTo>
                      <a:pt x="628" y="368"/>
                    </a:lnTo>
                    <a:lnTo>
                      <a:pt x="628" y="328"/>
                    </a:lnTo>
                    <a:lnTo>
                      <a:pt x="678" y="248"/>
                    </a:lnTo>
                    <a:lnTo>
                      <a:pt x="738" y="248"/>
                    </a:lnTo>
                    <a:lnTo>
                      <a:pt x="788" y="128"/>
                    </a:lnTo>
                    <a:lnTo>
                      <a:pt x="788" y="46"/>
                    </a:lnTo>
                    <a:lnTo>
                      <a:pt x="754" y="0"/>
                    </a:lnTo>
                    <a:lnTo>
                      <a:pt x="208" y="170"/>
                    </a:lnTo>
                    <a:lnTo>
                      <a:pt x="196" y="20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52" name="Freeform 2867"/>
              <p:cNvSpPr>
                <a:spLocks/>
              </p:cNvSpPr>
              <p:nvPr/>
            </p:nvSpPr>
            <p:spPr bwMode="auto">
              <a:xfrm>
                <a:off x="7551047" y="2158781"/>
                <a:ext cx="141405" cy="97698"/>
              </a:xfrm>
              <a:custGeom>
                <a:avLst/>
                <a:gdLst/>
                <a:ahLst/>
                <a:cxnLst>
                  <a:cxn ang="0">
                    <a:pos x="14" y="38"/>
                  </a:cxn>
                  <a:cxn ang="0">
                    <a:pos x="0" y="76"/>
                  </a:cxn>
                  <a:cxn ang="0">
                    <a:pos x="46" y="52"/>
                  </a:cxn>
                  <a:cxn ang="0">
                    <a:pos x="106" y="12"/>
                  </a:cxn>
                  <a:cxn ang="0">
                    <a:pos x="110" y="0"/>
                  </a:cxn>
                  <a:cxn ang="0">
                    <a:pos x="98" y="0"/>
                  </a:cxn>
                  <a:cxn ang="0">
                    <a:pos x="14" y="38"/>
                  </a:cxn>
                </a:cxnLst>
                <a:rect l="0" t="0" r="r" b="b"/>
                <a:pathLst>
                  <a:path w="110" h="76">
                    <a:moveTo>
                      <a:pt x="14" y="38"/>
                    </a:moveTo>
                    <a:lnTo>
                      <a:pt x="0" y="76"/>
                    </a:lnTo>
                    <a:lnTo>
                      <a:pt x="46" y="52"/>
                    </a:lnTo>
                    <a:lnTo>
                      <a:pt x="106" y="12"/>
                    </a:lnTo>
                    <a:lnTo>
                      <a:pt x="110" y="0"/>
                    </a:lnTo>
                    <a:lnTo>
                      <a:pt x="98" y="0"/>
                    </a:lnTo>
                    <a:lnTo>
                      <a:pt x="14" y="3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53" name="Freeform 2868"/>
              <p:cNvSpPr>
                <a:spLocks/>
              </p:cNvSpPr>
              <p:nvPr/>
            </p:nvSpPr>
            <p:spPr bwMode="auto">
              <a:xfrm>
                <a:off x="4365589" y="2924936"/>
                <a:ext cx="899847" cy="465349"/>
              </a:xfrm>
              <a:custGeom>
                <a:avLst/>
                <a:gdLst/>
                <a:ahLst/>
                <a:cxnLst>
                  <a:cxn ang="0">
                    <a:pos x="626" y="62"/>
                  </a:cxn>
                  <a:cxn ang="0">
                    <a:pos x="642" y="0"/>
                  </a:cxn>
                  <a:cxn ang="0">
                    <a:pos x="606" y="0"/>
                  </a:cxn>
                  <a:cxn ang="0">
                    <a:pos x="608" y="0"/>
                  </a:cxn>
                  <a:cxn ang="0">
                    <a:pos x="0" y="8"/>
                  </a:cxn>
                  <a:cxn ang="0">
                    <a:pos x="10" y="362"/>
                  </a:cxn>
                  <a:cxn ang="0">
                    <a:pos x="700" y="338"/>
                  </a:cxn>
                  <a:cxn ang="0">
                    <a:pos x="680" y="90"/>
                  </a:cxn>
                  <a:cxn ang="0">
                    <a:pos x="626" y="62"/>
                  </a:cxn>
                </a:cxnLst>
                <a:rect l="0" t="0" r="r" b="b"/>
                <a:pathLst>
                  <a:path w="700" h="362">
                    <a:moveTo>
                      <a:pt x="626" y="62"/>
                    </a:moveTo>
                    <a:lnTo>
                      <a:pt x="642" y="0"/>
                    </a:lnTo>
                    <a:lnTo>
                      <a:pt x="606" y="0"/>
                    </a:lnTo>
                    <a:lnTo>
                      <a:pt x="608" y="0"/>
                    </a:lnTo>
                    <a:lnTo>
                      <a:pt x="0" y="8"/>
                    </a:lnTo>
                    <a:lnTo>
                      <a:pt x="10" y="362"/>
                    </a:lnTo>
                    <a:lnTo>
                      <a:pt x="700" y="338"/>
                    </a:lnTo>
                    <a:lnTo>
                      <a:pt x="680" y="90"/>
                    </a:lnTo>
                    <a:lnTo>
                      <a:pt x="626" y="6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54" name="Freeform 2869"/>
              <p:cNvSpPr>
                <a:spLocks/>
              </p:cNvSpPr>
              <p:nvPr/>
            </p:nvSpPr>
            <p:spPr bwMode="auto">
              <a:xfrm>
                <a:off x="6011023" y="1824552"/>
                <a:ext cx="501343" cy="655603"/>
              </a:xfrm>
              <a:custGeom>
                <a:avLst/>
                <a:gdLst/>
                <a:ahLst/>
                <a:cxnLst>
                  <a:cxn ang="0">
                    <a:pos x="350" y="464"/>
                  </a:cxn>
                  <a:cxn ang="0">
                    <a:pos x="338" y="460"/>
                  </a:cxn>
                  <a:cxn ang="0">
                    <a:pos x="390" y="284"/>
                  </a:cxn>
                  <a:cxn ang="0">
                    <a:pos x="320" y="164"/>
                  </a:cxn>
                  <a:cxn ang="0">
                    <a:pos x="280" y="190"/>
                  </a:cxn>
                  <a:cxn ang="0">
                    <a:pos x="250" y="14"/>
                  </a:cxn>
                  <a:cxn ang="0">
                    <a:pos x="100" y="0"/>
                  </a:cxn>
                  <a:cxn ang="0">
                    <a:pos x="100" y="28"/>
                  </a:cxn>
                  <a:cxn ang="0">
                    <a:pos x="22" y="124"/>
                  </a:cxn>
                  <a:cxn ang="0">
                    <a:pos x="0" y="232"/>
                  </a:cxn>
                  <a:cxn ang="0">
                    <a:pos x="12" y="272"/>
                  </a:cxn>
                  <a:cxn ang="0">
                    <a:pos x="50" y="378"/>
                  </a:cxn>
                  <a:cxn ang="0">
                    <a:pos x="50" y="486"/>
                  </a:cxn>
                  <a:cxn ang="0">
                    <a:pos x="24" y="510"/>
                  </a:cxn>
                  <a:cxn ang="0">
                    <a:pos x="212" y="506"/>
                  </a:cxn>
                  <a:cxn ang="0">
                    <a:pos x="350" y="464"/>
                  </a:cxn>
                </a:cxnLst>
                <a:rect l="0" t="0" r="r" b="b"/>
                <a:pathLst>
                  <a:path w="390" h="510">
                    <a:moveTo>
                      <a:pt x="350" y="464"/>
                    </a:moveTo>
                    <a:lnTo>
                      <a:pt x="338" y="460"/>
                    </a:lnTo>
                    <a:lnTo>
                      <a:pt x="390" y="284"/>
                    </a:lnTo>
                    <a:lnTo>
                      <a:pt x="320" y="164"/>
                    </a:lnTo>
                    <a:lnTo>
                      <a:pt x="280" y="190"/>
                    </a:lnTo>
                    <a:lnTo>
                      <a:pt x="250" y="14"/>
                    </a:lnTo>
                    <a:lnTo>
                      <a:pt x="100" y="0"/>
                    </a:lnTo>
                    <a:lnTo>
                      <a:pt x="100" y="28"/>
                    </a:lnTo>
                    <a:lnTo>
                      <a:pt x="22" y="124"/>
                    </a:lnTo>
                    <a:lnTo>
                      <a:pt x="0" y="232"/>
                    </a:lnTo>
                    <a:lnTo>
                      <a:pt x="12" y="272"/>
                    </a:lnTo>
                    <a:lnTo>
                      <a:pt x="50" y="378"/>
                    </a:lnTo>
                    <a:lnTo>
                      <a:pt x="50" y="486"/>
                    </a:lnTo>
                    <a:lnTo>
                      <a:pt x="24" y="510"/>
                    </a:lnTo>
                    <a:lnTo>
                      <a:pt x="212" y="506"/>
                    </a:lnTo>
                    <a:lnTo>
                      <a:pt x="350" y="46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55" name="Freeform 2870"/>
              <p:cNvSpPr>
                <a:spLocks/>
              </p:cNvSpPr>
              <p:nvPr/>
            </p:nvSpPr>
            <p:spPr bwMode="auto">
              <a:xfrm>
                <a:off x="2308796" y="2392741"/>
                <a:ext cx="694168" cy="1210937"/>
              </a:xfrm>
              <a:custGeom>
                <a:avLst/>
                <a:gdLst/>
                <a:ahLst/>
                <a:cxnLst>
                  <a:cxn ang="0">
                    <a:pos x="468" y="688"/>
                  </a:cxn>
                  <a:cxn ang="0">
                    <a:pos x="540" y="98"/>
                  </a:cxn>
                  <a:cxn ang="0">
                    <a:pos x="302" y="50"/>
                  </a:cxn>
                  <a:cxn ang="0">
                    <a:pos x="302" y="46"/>
                  </a:cxn>
                  <a:cxn ang="0">
                    <a:pos x="76" y="0"/>
                  </a:cxn>
                  <a:cxn ang="0">
                    <a:pos x="0" y="328"/>
                  </a:cxn>
                  <a:cxn ang="0">
                    <a:pos x="10" y="356"/>
                  </a:cxn>
                  <a:cxn ang="0">
                    <a:pos x="0" y="384"/>
                  </a:cxn>
                  <a:cxn ang="0">
                    <a:pos x="384" y="942"/>
                  </a:cxn>
                  <a:cxn ang="0">
                    <a:pos x="414" y="794"/>
                  </a:cxn>
                  <a:cxn ang="0">
                    <a:pos x="454" y="806"/>
                  </a:cxn>
                  <a:cxn ang="0">
                    <a:pos x="468" y="688"/>
                  </a:cxn>
                  <a:cxn ang="0">
                    <a:pos x="468" y="688"/>
                  </a:cxn>
                  <a:cxn ang="0">
                    <a:pos x="468" y="688"/>
                  </a:cxn>
                </a:cxnLst>
                <a:rect l="0" t="0" r="r" b="b"/>
                <a:pathLst>
                  <a:path w="540" h="942">
                    <a:moveTo>
                      <a:pt x="468" y="688"/>
                    </a:moveTo>
                    <a:lnTo>
                      <a:pt x="540" y="98"/>
                    </a:lnTo>
                    <a:lnTo>
                      <a:pt x="302" y="50"/>
                    </a:lnTo>
                    <a:lnTo>
                      <a:pt x="302" y="46"/>
                    </a:lnTo>
                    <a:lnTo>
                      <a:pt x="76" y="0"/>
                    </a:lnTo>
                    <a:lnTo>
                      <a:pt x="0" y="328"/>
                    </a:lnTo>
                    <a:lnTo>
                      <a:pt x="10" y="356"/>
                    </a:lnTo>
                    <a:lnTo>
                      <a:pt x="0" y="384"/>
                    </a:lnTo>
                    <a:lnTo>
                      <a:pt x="384" y="942"/>
                    </a:lnTo>
                    <a:lnTo>
                      <a:pt x="414" y="794"/>
                    </a:lnTo>
                    <a:lnTo>
                      <a:pt x="454" y="806"/>
                    </a:lnTo>
                    <a:lnTo>
                      <a:pt x="468" y="688"/>
                    </a:lnTo>
                    <a:lnTo>
                      <a:pt x="468" y="688"/>
                    </a:lnTo>
                    <a:lnTo>
                      <a:pt x="468" y="68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56" name="Freeform 2871"/>
              <p:cNvSpPr>
                <a:spLocks/>
              </p:cNvSpPr>
              <p:nvPr/>
            </p:nvSpPr>
            <p:spPr bwMode="auto">
              <a:xfrm>
                <a:off x="7664170" y="1947960"/>
                <a:ext cx="110553" cy="200537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26" y="156"/>
                  </a:cxn>
                  <a:cxn ang="0">
                    <a:pos x="48" y="108"/>
                  </a:cxn>
                  <a:cxn ang="0">
                    <a:pos x="86" y="40"/>
                  </a:cxn>
                  <a:cxn ang="0">
                    <a:pos x="50" y="0"/>
                  </a:cxn>
                  <a:cxn ang="0">
                    <a:pos x="0" y="18"/>
                  </a:cxn>
                </a:cxnLst>
                <a:rect l="0" t="0" r="r" b="b"/>
                <a:pathLst>
                  <a:path w="86" h="156">
                    <a:moveTo>
                      <a:pt x="0" y="18"/>
                    </a:moveTo>
                    <a:lnTo>
                      <a:pt x="26" y="156"/>
                    </a:lnTo>
                    <a:lnTo>
                      <a:pt x="48" y="108"/>
                    </a:lnTo>
                    <a:lnTo>
                      <a:pt x="86" y="40"/>
                    </a:lnTo>
                    <a:lnTo>
                      <a:pt x="50" y="0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57" name="Freeform 2872"/>
              <p:cNvSpPr>
                <a:spLocks/>
              </p:cNvSpPr>
              <p:nvPr/>
            </p:nvSpPr>
            <p:spPr bwMode="auto">
              <a:xfrm>
                <a:off x="6599780" y="2608704"/>
                <a:ext cx="912702" cy="609325"/>
              </a:xfrm>
              <a:custGeom>
                <a:avLst/>
                <a:gdLst/>
                <a:ahLst/>
                <a:cxnLst>
                  <a:cxn ang="0">
                    <a:pos x="492" y="106"/>
                  </a:cxn>
                  <a:cxn ang="0">
                    <a:pos x="502" y="26"/>
                  </a:cxn>
                  <a:cxn ang="0">
                    <a:pos x="442" y="0"/>
                  </a:cxn>
                  <a:cxn ang="0">
                    <a:pos x="424" y="26"/>
                  </a:cxn>
                  <a:cxn ang="0">
                    <a:pos x="386" y="26"/>
                  </a:cxn>
                  <a:cxn ang="0">
                    <a:pos x="344" y="84"/>
                  </a:cxn>
                  <a:cxn ang="0">
                    <a:pos x="314" y="158"/>
                  </a:cxn>
                  <a:cxn ang="0">
                    <a:pos x="286" y="132"/>
                  </a:cxn>
                  <a:cxn ang="0">
                    <a:pos x="256" y="296"/>
                  </a:cxn>
                  <a:cxn ang="0">
                    <a:pos x="184" y="340"/>
                  </a:cxn>
                  <a:cxn ang="0">
                    <a:pos x="112" y="306"/>
                  </a:cxn>
                  <a:cxn ang="0">
                    <a:pos x="60" y="402"/>
                  </a:cxn>
                  <a:cxn ang="0">
                    <a:pos x="0" y="474"/>
                  </a:cxn>
                  <a:cxn ang="0">
                    <a:pos x="164" y="444"/>
                  </a:cxn>
                  <a:cxn ang="0">
                    <a:pos x="710" y="272"/>
                  </a:cxn>
                  <a:cxn ang="0">
                    <a:pos x="666" y="214"/>
                  </a:cxn>
                  <a:cxn ang="0">
                    <a:pos x="698" y="96"/>
                  </a:cxn>
                  <a:cxn ang="0">
                    <a:pos x="614" y="116"/>
                  </a:cxn>
                  <a:cxn ang="0">
                    <a:pos x="492" y="106"/>
                  </a:cxn>
                </a:cxnLst>
                <a:rect l="0" t="0" r="r" b="b"/>
                <a:pathLst>
                  <a:path w="710" h="474">
                    <a:moveTo>
                      <a:pt x="492" y="106"/>
                    </a:moveTo>
                    <a:lnTo>
                      <a:pt x="502" y="26"/>
                    </a:lnTo>
                    <a:lnTo>
                      <a:pt x="442" y="0"/>
                    </a:lnTo>
                    <a:lnTo>
                      <a:pt x="424" y="26"/>
                    </a:lnTo>
                    <a:lnTo>
                      <a:pt x="386" y="26"/>
                    </a:lnTo>
                    <a:lnTo>
                      <a:pt x="344" y="84"/>
                    </a:lnTo>
                    <a:lnTo>
                      <a:pt x="314" y="158"/>
                    </a:lnTo>
                    <a:lnTo>
                      <a:pt x="286" y="132"/>
                    </a:lnTo>
                    <a:lnTo>
                      <a:pt x="256" y="296"/>
                    </a:lnTo>
                    <a:lnTo>
                      <a:pt x="184" y="340"/>
                    </a:lnTo>
                    <a:lnTo>
                      <a:pt x="112" y="306"/>
                    </a:lnTo>
                    <a:lnTo>
                      <a:pt x="60" y="402"/>
                    </a:lnTo>
                    <a:lnTo>
                      <a:pt x="0" y="474"/>
                    </a:lnTo>
                    <a:lnTo>
                      <a:pt x="164" y="444"/>
                    </a:lnTo>
                    <a:lnTo>
                      <a:pt x="710" y="272"/>
                    </a:lnTo>
                    <a:lnTo>
                      <a:pt x="666" y="214"/>
                    </a:lnTo>
                    <a:lnTo>
                      <a:pt x="698" y="96"/>
                    </a:lnTo>
                    <a:lnTo>
                      <a:pt x="614" y="116"/>
                    </a:lnTo>
                    <a:lnTo>
                      <a:pt x="492" y="10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58" name="Freeform 2873"/>
              <p:cNvSpPr>
                <a:spLocks/>
              </p:cNvSpPr>
              <p:nvPr/>
            </p:nvSpPr>
            <p:spPr bwMode="auto">
              <a:xfrm>
                <a:off x="6939151" y="2469871"/>
                <a:ext cx="568189" cy="285380"/>
              </a:xfrm>
              <a:custGeom>
                <a:avLst/>
                <a:gdLst/>
                <a:ahLst/>
                <a:cxnLst>
                  <a:cxn ang="0">
                    <a:pos x="316" y="0"/>
                  </a:cxn>
                  <a:cxn ang="0">
                    <a:pos x="0" y="108"/>
                  </a:cxn>
                  <a:cxn ang="0">
                    <a:pos x="24" y="150"/>
                  </a:cxn>
                  <a:cxn ang="0">
                    <a:pos x="126" y="94"/>
                  </a:cxn>
                  <a:cxn ang="0">
                    <a:pos x="178" y="106"/>
                  </a:cxn>
                  <a:cxn ang="0">
                    <a:pos x="178" y="104"/>
                  </a:cxn>
                  <a:cxn ang="0">
                    <a:pos x="180" y="106"/>
                  </a:cxn>
                  <a:cxn ang="0">
                    <a:pos x="180" y="106"/>
                  </a:cxn>
                  <a:cxn ang="0">
                    <a:pos x="242" y="132"/>
                  </a:cxn>
                  <a:cxn ang="0">
                    <a:pos x="232" y="212"/>
                  </a:cxn>
                  <a:cxn ang="0">
                    <a:pos x="354" y="222"/>
                  </a:cxn>
                  <a:cxn ang="0">
                    <a:pos x="436" y="200"/>
                  </a:cxn>
                  <a:cxn ang="0">
                    <a:pos x="442" y="174"/>
                  </a:cxn>
                  <a:cxn ang="0">
                    <a:pos x="442" y="134"/>
                  </a:cxn>
                  <a:cxn ang="0">
                    <a:pos x="374" y="162"/>
                  </a:cxn>
                  <a:cxn ang="0">
                    <a:pos x="316" y="0"/>
                  </a:cxn>
                </a:cxnLst>
                <a:rect l="0" t="0" r="r" b="b"/>
                <a:pathLst>
                  <a:path w="442" h="222">
                    <a:moveTo>
                      <a:pt x="316" y="0"/>
                    </a:moveTo>
                    <a:lnTo>
                      <a:pt x="0" y="108"/>
                    </a:lnTo>
                    <a:lnTo>
                      <a:pt x="24" y="150"/>
                    </a:lnTo>
                    <a:lnTo>
                      <a:pt x="126" y="94"/>
                    </a:lnTo>
                    <a:lnTo>
                      <a:pt x="178" y="106"/>
                    </a:lnTo>
                    <a:lnTo>
                      <a:pt x="178" y="104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242" y="132"/>
                    </a:lnTo>
                    <a:lnTo>
                      <a:pt x="232" y="212"/>
                    </a:lnTo>
                    <a:lnTo>
                      <a:pt x="354" y="222"/>
                    </a:lnTo>
                    <a:lnTo>
                      <a:pt x="436" y="200"/>
                    </a:lnTo>
                    <a:lnTo>
                      <a:pt x="442" y="174"/>
                    </a:lnTo>
                    <a:lnTo>
                      <a:pt x="442" y="134"/>
                    </a:lnTo>
                    <a:lnTo>
                      <a:pt x="374" y="162"/>
                    </a:lnTo>
                    <a:lnTo>
                      <a:pt x="316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59" name="Freeform 2874"/>
              <p:cNvSpPr>
                <a:spLocks/>
              </p:cNvSpPr>
              <p:nvPr/>
            </p:nvSpPr>
            <p:spPr bwMode="auto">
              <a:xfrm>
                <a:off x="4363018" y="2932649"/>
                <a:ext cx="15426" cy="45763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8" y="356"/>
                  </a:cxn>
                  <a:cxn ang="0">
                    <a:pos x="12" y="356"/>
                  </a:cxn>
                  <a:cxn ang="0">
                    <a:pos x="2" y="2"/>
                  </a:cxn>
                  <a:cxn ang="0">
                    <a:pos x="2" y="2"/>
                  </a:cxn>
                </a:cxnLst>
                <a:rect l="0" t="0" r="r" b="b"/>
                <a:pathLst>
                  <a:path w="12" h="356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8" y="356"/>
                    </a:lnTo>
                    <a:lnTo>
                      <a:pt x="12" y="356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60" name="Freeform 2875"/>
              <p:cNvSpPr>
                <a:spLocks/>
              </p:cNvSpPr>
              <p:nvPr/>
            </p:nvSpPr>
            <p:spPr bwMode="auto">
              <a:xfrm>
                <a:off x="5103463" y="2834952"/>
                <a:ext cx="2571" cy="25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61" name="Freeform 2876"/>
              <p:cNvSpPr>
                <a:spLocks/>
              </p:cNvSpPr>
              <p:nvPr/>
            </p:nvSpPr>
            <p:spPr bwMode="auto">
              <a:xfrm>
                <a:off x="5113747" y="2822097"/>
                <a:ext cx="444781" cy="15426"/>
              </a:xfrm>
              <a:custGeom>
                <a:avLst/>
                <a:gdLst/>
                <a:ahLst/>
                <a:cxnLst>
                  <a:cxn ang="0">
                    <a:pos x="346" y="0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346" y="4"/>
                  </a:cxn>
                  <a:cxn ang="0">
                    <a:pos x="346" y="0"/>
                  </a:cxn>
                </a:cxnLst>
                <a:rect l="0" t="0" r="r" b="b"/>
                <a:pathLst>
                  <a:path w="346" h="12">
                    <a:moveTo>
                      <a:pt x="346" y="0"/>
                    </a:moveTo>
                    <a:lnTo>
                      <a:pt x="0" y="10"/>
                    </a:lnTo>
                    <a:lnTo>
                      <a:pt x="0" y="12"/>
                    </a:lnTo>
                    <a:lnTo>
                      <a:pt x="346" y="4"/>
                    </a:lnTo>
                    <a:lnTo>
                      <a:pt x="346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62" name="Rectangle 2877"/>
              <p:cNvSpPr>
                <a:spLocks noChangeArrowheads="1"/>
              </p:cNvSpPr>
              <p:nvPr/>
            </p:nvSpPr>
            <p:spPr bwMode="auto">
              <a:xfrm>
                <a:off x="6157569" y="4300416"/>
                <a:ext cx="2571" cy="5142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63" name="Freeform 2878"/>
              <p:cNvSpPr>
                <a:spLocks/>
              </p:cNvSpPr>
              <p:nvPr/>
            </p:nvSpPr>
            <p:spPr bwMode="auto">
              <a:xfrm>
                <a:off x="6090724" y="3583110"/>
                <a:ext cx="69417" cy="7173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2" y="558"/>
                  </a:cxn>
                  <a:cxn ang="0">
                    <a:pos x="54" y="558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54" h="558">
                    <a:moveTo>
                      <a:pt x="0" y="0"/>
                    </a:moveTo>
                    <a:lnTo>
                      <a:pt x="52" y="558"/>
                    </a:lnTo>
                    <a:lnTo>
                      <a:pt x="54" y="558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64" name="Freeform 2879"/>
              <p:cNvSpPr>
                <a:spLocks/>
              </p:cNvSpPr>
              <p:nvPr/>
            </p:nvSpPr>
            <p:spPr bwMode="auto">
              <a:xfrm>
                <a:off x="6540647" y="3182035"/>
                <a:ext cx="272525" cy="318803"/>
              </a:xfrm>
              <a:custGeom>
                <a:avLst/>
                <a:gdLst/>
                <a:ahLst/>
                <a:cxnLst>
                  <a:cxn ang="0">
                    <a:pos x="26" y="156"/>
                  </a:cxn>
                  <a:cxn ang="0">
                    <a:pos x="0" y="248"/>
                  </a:cxn>
                  <a:cxn ang="0">
                    <a:pos x="4" y="248"/>
                  </a:cxn>
                  <a:cxn ang="0">
                    <a:pos x="30" y="156"/>
                  </a:cxn>
                  <a:cxn ang="0">
                    <a:pos x="200" y="32"/>
                  </a:cxn>
                  <a:cxn ang="0">
                    <a:pos x="212" y="0"/>
                  </a:cxn>
                  <a:cxn ang="0">
                    <a:pos x="208" y="2"/>
                  </a:cxn>
                  <a:cxn ang="0">
                    <a:pos x="198" y="32"/>
                  </a:cxn>
                  <a:cxn ang="0">
                    <a:pos x="26" y="156"/>
                  </a:cxn>
                </a:cxnLst>
                <a:rect l="0" t="0" r="r" b="b"/>
                <a:pathLst>
                  <a:path w="212" h="248">
                    <a:moveTo>
                      <a:pt x="26" y="156"/>
                    </a:moveTo>
                    <a:lnTo>
                      <a:pt x="0" y="248"/>
                    </a:lnTo>
                    <a:lnTo>
                      <a:pt x="4" y="248"/>
                    </a:lnTo>
                    <a:lnTo>
                      <a:pt x="30" y="156"/>
                    </a:lnTo>
                    <a:lnTo>
                      <a:pt x="200" y="32"/>
                    </a:lnTo>
                    <a:lnTo>
                      <a:pt x="212" y="0"/>
                    </a:lnTo>
                    <a:lnTo>
                      <a:pt x="208" y="2"/>
                    </a:lnTo>
                    <a:lnTo>
                      <a:pt x="198" y="32"/>
                    </a:lnTo>
                    <a:lnTo>
                      <a:pt x="26" y="15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65" name="Freeform 2880"/>
              <p:cNvSpPr>
                <a:spLocks/>
              </p:cNvSpPr>
              <p:nvPr/>
            </p:nvSpPr>
            <p:spPr bwMode="auto">
              <a:xfrm>
                <a:off x="6741184" y="2996924"/>
                <a:ext cx="2571" cy="25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66" name="Freeform 2881"/>
              <p:cNvSpPr>
                <a:spLocks/>
              </p:cNvSpPr>
              <p:nvPr/>
            </p:nvSpPr>
            <p:spPr bwMode="auto">
              <a:xfrm>
                <a:off x="6592067" y="2999495"/>
                <a:ext cx="151688" cy="221105"/>
              </a:xfrm>
              <a:custGeom>
                <a:avLst/>
                <a:gdLst/>
                <a:ahLst/>
                <a:cxnLst>
                  <a:cxn ang="0">
                    <a:pos x="64" y="98"/>
                  </a:cxn>
                  <a:cxn ang="0">
                    <a:pos x="0" y="172"/>
                  </a:cxn>
                  <a:cxn ang="0">
                    <a:pos x="6" y="170"/>
                  </a:cxn>
                  <a:cxn ang="0">
                    <a:pos x="6" y="170"/>
                  </a:cxn>
                  <a:cxn ang="0">
                    <a:pos x="66" y="98"/>
                  </a:cxn>
                  <a:cxn ang="0">
                    <a:pos x="118" y="2"/>
                  </a:cxn>
                  <a:cxn ang="0">
                    <a:pos x="114" y="0"/>
                  </a:cxn>
                  <a:cxn ang="0">
                    <a:pos x="64" y="98"/>
                  </a:cxn>
                </a:cxnLst>
                <a:rect l="0" t="0" r="r" b="b"/>
                <a:pathLst>
                  <a:path w="118" h="172">
                    <a:moveTo>
                      <a:pt x="64" y="98"/>
                    </a:moveTo>
                    <a:lnTo>
                      <a:pt x="0" y="172"/>
                    </a:lnTo>
                    <a:lnTo>
                      <a:pt x="6" y="170"/>
                    </a:lnTo>
                    <a:lnTo>
                      <a:pt x="6" y="170"/>
                    </a:lnTo>
                    <a:lnTo>
                      <a:pt x="66" y="98"/>
                    </a:lnTo>
                    <a:lnTo>
                      <a:pt x="118" y="2"/>
                    </a:lnTo>
                    <a:lnTo>
                      <a:pt x="114" y="0"/>
                    </a:lnTo>
                    <a:lnTo>
                      <a:pt x="64" y="9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67" name="Freeform 2882"/>
              <p:cNvSpPr>
                <a:spLocks/>
              </p:cNvSpPr>
              <p:nvPr/>
            </p:nvSpPr>
            <p:spPr bwMode="auto">
              <a:xfrm>
                <a:off x="7507340" y="2552143"/>
                <a:ext cx="2571" cy="7713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2" y="6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68" name="Freeform 2883"/>
              <p:cNvSpPr>
                <a:spLocks/>
              </p:cNvSpPr>
              <p:nvPr/>
            </p:nvSpPr>
            <p:spPr bwMode="auto">
              <a:xfrm>
                <a:off x="7383932" y="2457016"/>
                <a:ext cx="123408" cy="102840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96" y="80"/>
                  </a:cxn>
                  <a:cxn ang="0">
                    <a:pos x="96" y="74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96" h="80">
                    <a:moveTo>
                      <a:pt x="0" y="2"/>
                    </a:moveTo>
                    <a:lnTo>
                      <a:pt x="96" y="80"/>
                    </a:lnTo>
                    <a:lnTo>
                      <a:pt x="96" y="74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69" name="Freeform 2884"/>
              <p:cNvSpPr>
                <a:spLocks/>
              </p:cNvSpPr>
              <p:nvPr/>
            </p:nvSpPr>
            <p:spPr bwMode="auto">
              <a:xfrm>
                <a:off x="7548476" y="2256479"/>
                <a:ext cx="2571" cy="2571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70" name="Freeform 2885"/>
              <p:cNvSpPr>
                <a:spLocks/>
              </p:cNvSpPr>
              <p:nvPr/>
            </p:nvSpPr>
            <p:spPr bwMode="auto">
              <a:xfrm>
                <a:off x="7692451" y="2156210"/>
                <a:ext cx="7713" cy="2571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2">
                    <a:moveTo>
                      <a:pt x="4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71" name="Freeform 2886"/>
              <p:cNvSpPr>
                <a:spLocks/>
              </p:cNvSpPr>
              <p:nvPr/>
            </p:nvSpPr>
            <p:spPr bwMode="auto">
              <a:xfrm>
                <a:off x="7391645" y="2156210"/>
                <a:ext cx="303377" cy="102840"/>
              </a:xfrm>
              <a:custGeom>
                <a:avLst/>
                <a:gdLst/>
                <a:ahLst/>
                <a:cxnLst>
                  <a:cxn ang="0">
                    <a:pos x="222" y="0"/>
                  </a:cxn>
                  <a:cxn ang="0">
                    <a:pos x="136" y="40"/>
                  </a:cxn>
                  <a:cxn ang="0">
                    <a:pos x="124" y="70"/>
                  </a:cxn>
                  <a:cxn ang="0">
                    <a:pos x="0" y="42"/>
                  </a:cxn>
                  <a:cxn ang="0">
                    <a:pos x="0" y="44"/>
                  </a:cxn>
                  <a:cxn ang="0">
                    <a:pos x="124" y="72"/>
                  </a:cxn>
                  <a:cxn ang="0">
                    <a:pos x="122" y="80"/>
                  </a:cxn>
                  <a:cxn ang="0">
                    <a:pos x="124" y="78"/>
                  </a:cxn>
                  <a:cxn ang="0">
                    <a:pos x="138" y="40"/>
                  </a:cxn>
                  <a:cxn ang="0">
                    <a:pos x="222" y="2"/>
                  </a:cxn>
                  <a:cxn ang="0">
                    <a:pos x="234" y="2"/>
                  </a:cxn>
                  <a:cxn ang="0">
                    <a:pos x="236" y="0"/>
                  </a:cxn>
                  <a:cxn ang="0">
                    <a:pos x="222" y="0"/>
                  </a:cxn>
                </a:cxnLst>
                <a:rect l="0" t="0" r="r" b="b"/>
                <a:pathLst>
                  <a:path w="236" h="80">
                    <a:moveTo>
                      <a:pt x="222" y="0"/>
                    </a:moveTo>
                    <a:lnTo>
                      <a:pt x="136" y="40"/>
                    </a:lnTo>
                    <a:lnTo>
                      <a:pt x="124" y="70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124" y="72"/>
                    </a:lnTo>
                    <a:lnTo>
                      <a:pt x="122" y="80"/>
                    </a:lnTo>
                    <a:lnTo>
                      <a:pt x="124" y="78"/>
                    </a:lnTo>
                    <a:lnTo>
                      <a:pt x="138" y="40"/>
                    </a:lnTo>
                    <a:lnTo>
                      <a:pt x="222" y="2"/>
                    </a:lnTo>
                    <a:lnTo>
                      <a:pt x="234" y="2"/>
                    </a:lnTo>
                    <a:lnTo>
                      <a:pt x="236" y="0"/>
                    </a:lnTo>
                    <a:lnTo>
                      <a:pt x="222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72" name="Rectangle 2887"/>
              <p:cNvSpPr>
                <a:spLocks noChangeArrowheads="1"/>
              </p:cNvSpPr>
              <p:nvPr/>
            </p:nvSpPr>
            <p:spPr bwMode="auto">
              <a:xfrm>
                <a:off x="2121113" y="1603447"/>
                <a:ext cx="7713" cy="7713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73" name="Freeform 2888"/>
              <p:cNvSpPr>
                <a:spLocks/>
              </p:cNvSpPr>
              <p:nvPr/>
            </p:nvSpPr>
            <p:spPr bwMode="auto">
              <a:xfrm>
                <a:off x="2128826" y="1338635"/>
                <a:ext cx="2043938" cy="1252073"/>
              </a:xfrm>
              <a:custGeom>
                <a:avLst/>
                <a:gdLst/>
                <a:ahLst/>
                <a:cxnLst>
                  <a:cxn ang="0">
                    <a:pos x="1590" y="166"/>
                  </a:cxn>
                  <a:cxn ang="0">
                    <a:pos x="1580" y="616"/>
                  </a:cxn>
                  <a:cxn ang="0">
                    <a:pos x="978" y="650"/>
                  </a:cxn>
                  <a:cxn ang="0">
                    <a:pos x="908" y="626"/>
                  </a:cxn>
                  <a:cxn ang="0">
                    <a:pos x="754" y="534"/>
                  </a:cxn>
                  <a:cxn ang="0">
                    <a:pos x="714" y="476"/>
                  </a:cxn>
                  <a:cxn ang="0">
                    <a:pos x="710" y="326"/>
                  </a:cxn>
                  <a:cxn ang="0">
                    <a:pos x="668" y="24"/>
                  </a:cxn>
                  <a:cxn ang="0">
                    <a:pos x="636" y="166"/>
                  </a:cxn>
                  <a:cxn ang="0">
                    <a:pos x="736" y="346"/>
                  </a:cxn>
                  <a:cxn ang="0">
                    <a:pos x="756" y="472"/>
                  </a:cxn>
                  <a:cxn ang="0">
                    <a:pos x="818" y="642"/>
                  </a:cxn>
                  <a:cxn ang="0">
                    <a:pos x="948" y="618"/>
                  </a:cxn>
                  <a:cxn ang="0">
                    <a:pos x="948" y="964"/>
                  </a:cxn>
                  <a:cxn ang="0">
                    <a:pos x="502" y="598"/>
                  </a:cxn>
                  <a:cxn ang="0">
                    <a:pos x="560" y="436"/>
                  </a:cxn>
                  <a:cxn ang="0">
                    <a:pos x="592" y="2"/>
                  </a:cxn>
                  <a:cxn ang="0">
                    <a:pos x="524" y="342"/>
                  </a:cxn>
                  <a:cxn ang="0">
                    <a:pos x="400" y="334"/>
                  </a:cxn>
                  <a:cxn ang="0">
                    <a:pos x="110" y="318"/>
                  </a:cxn>
                  <a:cxn ang="0">
                    <a:pos x="0" y="206"/>
                  </a:cxn>
                  <a:cxn ang="0">
                    <a:pos x="96" y="238"/>
                  </a:cxn>
                  <a:cxn ang="0">
                    <a:pos x="284" y="356"/>
                  </a:cxn>
                  <a:cxn ang="0">
                    <a:pos x="534" y="378"/>
                  </a:cxn>
                  <a:cxn ang="0">
                    <a:pos x="486" y="572"/>
                  </a:cxn>
                  <a:cxn ang="0">
                    <a:pos x="444" y="862"/>
                  </a:cxn>
                  <a:cxn ang="0">
                    <a:pos x="446" y="866"/>
                  </a:cxn>
                  <a:cxn ang="0">
                    <a:pos x="442" y="870"/>
                  </a:cxn>
                  <a:cxn ang="0">
                    <a:pos x="682" y="914"/>
                  </a:cxn>
                  <a:cxn ang="0">
                    <a:pos x="688" y="920"/>
                  </a:cxn>
                  <a:cxn ang="0">
                    <a:pos x="948" y="970"/>
                  </a:cxn>
                  <a:cxn ang="0">
                    <a:pos x="992" y="584"/>
                  </a:cxn>
                  <a:cxn ang="0">
                    <a:pos x="1584" y="624"/>
                  </a:cxn>
                  <a:cxn ang="0">
                    <a:pos x="1586" y="524"/>
                  </a:cxn>
                  <a:cxn ang="0">
                    <a:pos x="1584" y="520"/>
                  </a:cxn>
                </a:cxnLst>
                <a:rect l="0" t="0" r="r" b="b"/>
                <a:pathLst>
                  <a:path w="1590" h="974">
                    <a:moveTo>
                      <a:pt x="1586" y="520"/>
                    </a:moveTo>
                    <a:lnTo>
                      <a:pt x="1590" y="166"/>
                    </a:lnTo>
                    <a:lnTo>
                      <a:pt x="1584" y="164"/>
                    </a:lnTo>
                    <a:lnTo>
                      <a:pt x="1580" y="616"/>
                    </a:lnTo>
                    <a:lnTo>
                      <a:pt x="986" y="578"/>
                    </a:lnTo>
                    <a:lnTo>
                      <a:pt x="978" y="650"/>
                    </a:lnTo>
                    <a:lnTo>
                      <a:pt x="952" y="614"/>
                    </a:lnTo>
                    <a:lnTo>
                      <a:pt x="908" y="626"/>
                    </a:lnTo>
                    <a:lnTo>
                      <a:pt x="824" y="638"/>
                    </a:lnTo>
                    <a:lnTo>
                      <a:pt x="754" y="534"/>
                    </a:lnTo>
                    <a:lnTo>
                      <a:pt x="762" y="464"/>
                    </a:lnTo>
                    <a:lnTo>
                      <a:pt x="714" y="476"/>
                    </a:lnTo>
                    <a:lnTo>
                      <a:pt x="744" y="346"/>
                    </a:lnTo>
                    <a:lnTo>
                      <a:pt x="710" y="326"/>
                    </a:lnTo>
                    <a:lnTo>
                      <a:pt x="644" y="168"/>
                    </a:lnTo>
                    <a:lnTo>
                      <a:pt x="668" y="24"/>
                    </a:lnTo>
                    <a:lnTo>
                      <a:pt x="662" y="22"/>
                    </a:lnTo>
                    <a:lnTo>
                      <a:pt x="636" y="166"/>
                    </a:lnTo>
                    <a:lnTo>
                      <a:pt x="708" y="332"/>
                    </a:lnTo>
                    <a:lnTo>
                      <a:pt x="736" y="346"/>
                    </a:lnTo>
                    <a:lnTo>
                      <a:pt x="706" y="484"/>
                    </a:lnTo>
                    <a:lnTo>
                      <a:pt x="756" y="472"/>
                    </a:lnTo>
                    <a:lnTo>
                      <a:pt x="746" y="534"/>
                    </a:lnTo>
                    <a:lnTo>
                      <a:pt x="818" y="642"/>
                    </a:lnTo>
                    <a:lnTo>
                      <a:pt x="910" y="632"/>
                    </a:lnTo>
                    <a:lnTo>
                      <a:pt x="948" y="618"/>
                    </a:lnTo>
                    <a:lnTo>
                      <a:pt x="976" y="656"/>
                    </a:lnTo>
                    <a:lnTo>
                      <a:pt x="948" y="964"/>
                    </a:lnTo>
                    <a:lnTo>
                      <a:pt x="452" y="864"/>
                    </a:lnTo>
                    <a:lnTo>
                      <a:pt x="502" y="598"/>
                    </a:lnTo>
                    <a:lnTo>
                      <a:pt x="492" y="572"/>
                    </a:lnTo>
                    <a:lnTo>
                      <a:pt x="560" y="436"/>
                    </a:lnTo>
                    <a:lnTo>
                      <a:pt x="530" y="342"/>
                    </a:lnTo>
                    <a:lnTo>
                      <a:pt x="592" y="2"/>
                    </a:lnTo>
                    <a:lnTo>
                      <a:pt x="584" y="0"/>
                    </a:lnTo>
                    <a:lnTo>
                      <a:pt x="524" y="342"/>
                    </a:lnTo>
                    <a:lnTo>
                      <a:pt x="532" y="368"/>
                    </a:lnTo>
                    <a:lnTo>
                      <a:pt x="400" y="334"/>
                    </a:lnTo>
                    <a:lnTo>
                      <a:pt x="284" y="350"/>
                    </a:lnTo>
                    <a:lnTo>
                      <a:pt x="110" y="318"/>
                    </a:lnTo>
                    <a:lnTo>
                      <a:pt x="100" y="234"/>
                    </a:lnTo>
                    <a:lnTo>
                      <a:pt x="0" y="206"/>
                    </a:lnTo>
                    <a:lnTo>
                      <a:pt x="0" y="212"/>
                    </a:lnTo>
                    <a:lnTo>
                      <a:pt x="96" y="238"/>
                    </a:lnTo>
                    <a:lnTo>
                      <a:pt x="104" y="324"/>
                    </a:lnTo>
                    <a:lnTo>
                      <a:pt x="284" y="356"/>
                    </a:lnTo>
                    <a:lnTo>
                      <a:pt x="400" y="340"/>
                    </a:lnTo>
                    <a:lnTo>
                      <a:pt x="534" y="378"/>
                    </a:lnTo>
                    <a:lnTo>
                      <a:pt x="554" y="436"/>
                    </a:lnTo>
                    <a:lnTo>
                      <a:pt x="486" y="572"/>
                    </a:lnTo>
                    <a:lnTo>
                      <a:pt x="494" y="598"/>
                    </a:lnTo>
                    <a:lnTo>
                      <a:pt x="444" y="862"/>
                    </a:lnTo>
                    <a:lnTo>
                      <a:pt x="446" y="862"/>
                    </a:lnTo>
                    <a:lnTo>
                      <a:pt x="446" y="866"/>
                    </a:lnTo>
                    <a:lnTo>
                      <a:pt x="442" y="866"/>
                    </a:lnTo>
                    <a:lnTo>
                      <a:pt x="442" y="870"/>
                    </a:lnTo>
                    <a:lnTo>
                      <a:pt x="680" y="918"/>
                    </a:lnTo>
                    <a:lnTo>
                      <a:pt x="682" y="914"/>
                    </a:lnTo>
                    <a:lnTo>
                      <a:pt x="688" y="914"/>
                    </a:lnTo>
                    <a:lnTo>
                      <a:pt x="688" y="920"/>
                    </a:lnTo>
                    <a:lnTo>
                      <a:pt x="948" y="974"/>
                    </a:lnTo>
                    <a:lnTo>
                      <a:pt x="948" y="970"/>
                    </a:lnTo>
                    <a:lnTo>
                      <a:pt x="954" y="972"/>
                    </a:lnTo>
                    <a:lnTo>
                      <a:pt x="992" y="584"/>
                    </a:lnTo>
                    <a:lnTo>
                      <a:pt x="1584" y="624"/>
                    </a:lnTo>
                    <a:lnTo>
                      <a:pt x="1584" y="624"/>
                    </a:lnTo>
                    <a:lnTo>
                      <a:pt x="1586" y="624"/>
                    </a:lnTo>
                    <a:lnTo>
                      <a:pt x="1586" y="524"/>
                    </a:lnTo>
                    <a:lnTo>
                      <a:pt x="1584" y="524"/>
                    </a:lnTo>
                    <a:lnTo>
                      <a:pt x="1584" y="520"/>
                    </a:lnTo>
                    <a:lnTo>
                      <a:pt x="1586" y="52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74" name="Rectangle 2889"/>
              <p:cNvSpPr>
                <a:spLocks noChangeArrowheads="1"/>
              </p:cNvSpPr>
              <p:nvPr/>
            </p:nvSpPr>
            <p:spPr bwMode="auto">
              <a:xfrm>
                <a:off x="1971996" y="2266763"/>
                <a:ext cx="1286" cy="1286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75" name="Freeform 2890"/>
              <p:cNvSpPr>
                <a:spLocks/>
              </p:cNvSpPr>
              <p:nvPr/>
            </p:nvSpPr>
            <p:spPr bwMode="auto">
              <a:xfrm>
                <a:off x="2748435" y="4012465"/>
                <a:ext cx="2571" cy="128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76" name="Freeform 2891"/>
              <p:cNvSpPr>
                <a:spLocks/>
              </p:cNvSpPr>
              <p:nvPr/>
            </p:nvSpPr>
            <p:spPr bwMode="auto">
              <a:xfrm>
                <a:off x="2910408" y="2518720"/>
                <a:ext cx="102840" cy="758442"/>
              </a:xfrm>
              <a:custGeom>
                <a:avLst/>
                <a:gdLst/>
                <a:ahLst/>
                <a:cxnLst>
                  <a:cxn ang="0">
                    <a:pos x="72" y="0"/>
                  </a:cxn>
                  <a:cxn ang="0">
                    <a:pos x="0" y="590"/>
                  </a:cxn>
                  <a:cxn ang="0">
                    <a:pos x="4" y="590"/>
                  </a:cxn>
                  <a:cxn ang="0">
                    <a:pos x="80" y="2"/>
                  </a:cxn>
                  <a:cxn ang="0">
                    <a:pos x="72" y="0"/>
                  </a:cxn>
                </a:cxnLst>
                <a:rect l="0" t="0" r="r" b="b"/>
                <a:pathLst>
                  <a:path w="80" h="590">
                    <a:moveTo>
                      <a:pt x="72" y="0"/>
                    </a:moveTo>
                    <a:lnTo>
                      <a:pt x="0" y="590"/>
                    </a:lnTo>
                    <a:lnTo>
                      <a:pt x="4" y="590"/>
                    </a:lnTo>
                    <a:lnTo>
                      <a:pt x="80" y="2"/>
                    </a:lnTo>
                    <a:lnTo>
                      <a:pt x="72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77" name="Freeform 2892"/>
              <p:cNvSpPr>
                <a:spLocks/>
              </p:cNvSpPr>
              <p:nvPr/>
            </p:nvSpPr>
            <p:spPr bwMode="auto">
              <a:xfrm>
                <a:off x="1971996" y="2266763"/>
                <a:ext cx="943554" cy="1745703"/>
              </a:xfrm>
              <a:custGeom>
                <a:avLst/>
                <a:gdLst/>
                <a:ahLst/>
                <a:cxnLst>
                  <a:cxn ang="0">
                    <a:pos x="618" y="1262"/>
                  </a:cxn>
                  <a:cxn ang="0">
                    <a:pos x="668" y="1154"/>
                  </a:cxn>
                  <a:cxn ang="0">
                    <a:pos x="680" y="1140"/>
                  </a:cxn>
                  <a:cxn ang="0">
                    <a:pos x="648" y="1044"/>
                  </a:cxn>
                  <a:cxn ang="0">
                    <a:pos x="678" y="896"/>
                  </a:cxn>
                  <a:cxn ang="0">
                    <a:pos x="718" y="910"/>
                  </a:cxn>
                  <a:cxn ang="0">
                    <a:pos x="734" y="790"/>
                  </a:cxn>
                  <a:cxn ang="0">
                    <a:pos x="730" y="788"/>
                  </a:cxn>
                  <a:cxn ang="0">
                    <a:pos x="730" y="786"/>
                  </a:cxn>
                  <a:cxn ang="0">
                    <a:pos x="716" y="904"/>
                  </a:cxn>
                  <a:cxn ang="0">
                    <a:pos x="676" y="892"/>
                  </a:cxn>
                  <a:cxn ang="0">
                    <a:pos x="646" y="1040"/>
                  </a:cxn>
                  <a:cxn ang="0">
                    <a:pos x="262" y="482"/>
                  </a:cxn>
                  <a:cxn ang="0">
                    <a:pos x="272" y="454"/>
                  </a:cxn>
                  <a:cxn ang="0">
                    <a:pos x="262" y="426"/>
                  </a:cxn>
                  <a:cxn ang="0">
                    <a:pos x="338" y="98"/>
                  </a:cxn>
                  <a:cxn ang="0">
                    <a:pos x="564" y="144"/>
                  </a:cxn>
                  <a:cxn ang="0">
                    <a:pos x="566" y="140"/>
                  </a:cxn>
                  <a:cxn ang="0">
                    <a:pos x="338" y="9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8"/>
                  </a:cxn>
                  <a:cxn ang="0">
                    <a:pos x="334" y="98"/>
                  </a:cxn>
                  <a:cxn ang="0">
                    <a:pos x="256" y="426"/>
                  </a:cxn>
                  <a:cxn ang="0">
                    <a:pos x="266" y="454"/>
                  </a:cxn>
                  <a:cxn ang="0">
                    <a:pos x="256" y="482"/>
                  </a:cxn>
                  <a:cxn ang="0">
                    <a:pos x="644" y="1044"/>
                  </a:cxn>
                  <a:cxn ang="0">
                    <a:pos x="674" y="1140"/>
                  </a:cxn>
                  <a:cxn ang="0">
                    <a:pos x="664" y="1150"/>
                  </a:cxn>
                  <a:cxn ang="0">
                    <a:pos x="614" y="1260"/>
                  </a:cxn>
                  <a:cxn ang="0">
                    <a:pos x="626" y="1314"/>
                  </a:cxn>
                  <a:cxn ang="0">
                    <a:pos x="600" y="1354"/>
                  </a:cxn>
                  <a:cxn ang="0">
                    <a:pos x="604" y="1358"/>
                  </a:cxn>
                  <a:cxn ang="0">
                    <a:pos x="606" y="1358"/>
                  </a:cxn>
                  <a:cxn ang="0">
                    <a:pos x="630" y="1316"/>
                  </a:cxn>
                  <a:cxn ang="0">
                    <a:pos x="618" y="1262"/>
                  </a:cxn>
                </a:cxnLst>
                <a:rect l="0" t="0" r="r" b="b"/>
                <a:pathLst>
                  <a:path w="734" h="1358">
                    <a:moveTo>
                      <a:pt x="618" y="1262"/>
                    </a:moveTo>
                    <a:lnTo>
                      <a:pt x="668" y="1154"/>
                    </a:lnTo>
                    <a:lnTo>
                      <a:pt x="680" y="1140"/>
                    </a:lnTo>
                    <a:lnTo>
                      <a:pt x="648" y="1044"/>
                    </a:lnTo>
                    <a:lnTo>
                      <a:pt x="678" y="896"/>
                    </a:lnTo>
                    <a:lnTo>
                      <a:pt x="718" y="910"/>
                    </a:lnTo>
                    <a:lnTo>
                      <a:pt x="734" y="790"/>
                    </a:lnTo>
                    <a:lnTo>
                      <a:pt x="730" y="788"/>
                    </a:lnTo>
                    <a:lnTo>
                      <a:pt x="730" y="786"/>
                    </a:lnTo>
                    <a:lnTo>
                      <a:pt x="716" y="904"/>
                    </a:lnTo>
                    <a:lnTo>
                      <a:pt x="676" y="892"/>
                    </a:lnTo>
                    <a:lnTo>
                      <a:pt x="646" y="1040"/>
                    </a:lnTo>
                    <a:lnTo>
                      <a:pt x="262" y="482"/>
                    </a:lnTo>
                    <a:lnTo>
                      <a:pt x="272" y="454"/>
                    </a:lnTo>
                    <a:lnTo>
                      <a:pt x="262" y="426"/>
                    </a:lnTo>
                    <a:lnTo>
                      <a:pt x="338" y="98"/>
                    </a:lnTo>
                    <a:lnTo>
                      <a:pt x="564" y="144"/>
                    </a:lnTo>
                    <a:lnTo>
                      <a:pt x="566" y="140"/>
                    </a:lnTo>
                    <a:lnTo>
                      <a:pt x="338" y="9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8"/>
                    </a:lnTo>
                    <a:lnTo>
                      <a:pt x="334" y="98"/>
                    </a:lnTo>
                    <a:lnTo>
                      <a:pt x="256" y="426"/>
                    </a:lnTo>
                    <a:lnTo>
                      <a:pt x="266" y="454"/>
                    </a:lnTo>
                    <a:lnTo>
                      <a:pt x="256" y="482"/>
                    </a:lnTo>
                    <a:lnTo>
                      <a:pt x="644" y="1044"/>
                    </a:lnTo>
                    <a:lnTo>
                      <a:pt x="674" y="1140"/>
                    </a:lnTo>
                    <a:lnTo>
                      <a:pt x="664" y="1150"/>
                    </a:lnTo>
                    <a:lnTo>
                      <a:pt x="614" y="1260"/>
                    </a:lnTo>
                    <a:lnTo>
                      <a:pt x="626" y="1314"/>
                    </a:lnTo>
                    <a:lnTo>
                      <a:pt x="600" y="1354"/>
                    </a:lnTo>
                    <a:lnTo>
                      <a:pt x="604" y="1358"/>
                    </a:lnTo>
                    <a:lnTo>
                      <a:pt x="606" y="1358"/>
                    </a:lnTo>
                    <a:lnTo>
                      <a:pt x="630" y="1316"/>
                    </a:lnTo>
                    <a:lnTo>
                      <a:pt x="618" y="126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78" name="Freeform 2893"/>
              <p:cNvSpPr>
                <a:spLocks/>
              </p:cNvSpPr>
              <p:nvPr/>
            </p:nvSpPr>
            <p:spPr bwMode="auto">
              <a:xfrm>
                <a:off x="2697015" y="2446732"/>
                <a:ext cx="5142" cy="514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4" y="4"/>
                  </a:cxn>
                  <a:cxn ang="0">
                    <a:pos x="4" y="0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79" name="Freeform 2894"/>
              <p:cNvSpPr>
                <a:spLocks/>
              </p:cNvSpPr>
              <p:nvPr/>
            </p:nvSpPr>
            <p:spPr bwMode="auto">
              <a:xfrm>
                <a:off x="3002963" y="2513578"/>
                <a:ext cx="10284" cy="771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8" y="6"/>
                  </a:cxn>
                  <a:cxn ang="0">
                    <a:pos x="8" y="0"/>
                  </a:cxn>
                </a:cxnLst>
                <a:rect l="0" t="0" r="r" b="b"/>
                <a:pathLst>
                  <a:path w="8" h="6">
                    <a:moveTo>
                      <a:pt x="8" y="0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8" y="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0" name="Freeform 2895"/>
              <p:cNvSpPr>
                <a:spLocks/>
              </p:cNvSpPr>
              <p:nvPr/>
            </p:nvSpPr>
            <p:spPr bwMode="auto">
              <a:xfrm>
                <a:off x="5455689" y="4480386"/>
                <a:ext cx="5142" cy="128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1" name="Freeform 2896"/>
              <p:cNvSpPr>
                <a:spLocks/>
              </p:cNvSpPr>
              <p:nvPr/>
            </p:nvSpPr>
            <p:spPr bwMode="auto">
              <a:xfrm>
                <a:off x="3781974" y="4256710"/>
                <a:ext cx="2571" cy="5142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2" y="4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2" name="Freeform 2897"/>
              <p:cNvSpPr>
                <a:spLocks/>
              </p:cNvSpPr>
              <p:nvPr/>
            </p:nvSpPr>
            <p:spPr bwMode="auto">
              <a:xfrm>
                <a:off x="3442603" y="4290133"/>
                <a:ext cx="10284" cy="25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8" y="2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3" name="Freeform 2898"/>
              <p:cNvSpPr>
                <a:spLocks/>
              </p:cNvSpPr>
              <p:nvPr/>
            </p:nvSpPr>
            <p:spPr bwMode="auto">
              <a:xfrm>
                <a:off x="5370846" y="3971330"/>
                <a:ext cx="118266" cy="509056"/>
              </a:xfrm>
              <a:custGeom>
                <a:avLst/>
                <a:gdLst/>
                <a:ahLst/>
                <a:cxnLst>
                  <a:cxn ang="0">
                    <a:pos x="92" y="254"/>
                  </a:cxn>
                  <a:cxn ang="0">
                    <a:pos x="24" y="134"/>
                  </a:cxn>
                  <a:cxn ang="0">
                    <a:pos x="8" y="0"/>
                  </a:cxn>
                  <a:cxn ang="0">
                    <a:pos x="0" y="0"/>
                  </a:cxn>
                  <a:cxn ang="0">
                    <a:pos x="18" y="136"/>
                  </a:cxn>
                  <a:cxn ang="0">
                    <a:pos x="88" y="254"/>
                  </a:cxn>
                  <a:cxn ang="0">
                    <a:pos x="78" y="350"/>
                  </a:cxn>
                  <a:cxn ang="0">
                    <a:pos x="64" y="394"/>
                  </a:cxn>
                  <a:cxn ang="0">
                    <a:pos x="66" y="396"/>
                  </a:cxn>
                  <a:cxn ang="0">
                    <a:pos x="70" y="396"/>
                  </a:cxn>
                  <a:cxn ang="0">
                    <a:pos x="84" y="352"/>
                  </a:cxn>
                  <a:cxn ang="0">
                    <a:pos x="92" y="254"/>
                  </a:cxn>
                </a:cxnLst>
                <a:rect l="0" t="0" r="r" b="b"/>
                <a:pathLst>
                  <a:path w="92" h="396">
                    <a:moveTo>
                      <a:pt x="92" y="254"/>
                    </a:moveTo>
                    <a:lnTo>
                      <a:pt x="24" y="134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18" y="136"/>
                    </a:lnTo>
                    <a:lnTo>
                      <a:pt x="88" y="254"/>
                    </a:lnTo>
                    <a:lnTo>
                      <a:pt x="78" y="350"/>
                    </a:lnTo>
                    <a:lnTo>
                      <a:pt x="64" y="394"/>
                    </a:lnTo>
                    <a:lnTo>
                      <a:pt x="66" y="396"/>
                    </a:lnTo>
                    <a:lnTo>
                      <a:pt x="70" y="396"/>
                    </a:lnTo>
                    <a:lnTo>
                      <a:pt x="84" y="352"/>
                    </a:lnTo>
                    <a:lnTo>
                      <a:pt x="92" y="25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4" name="Rectangle 2899"/>
              <p:cNvSpPr>
                <a:spLocks noChangeArrowheads="1"/>
              </p:cNvSpPr>
              <p:nvPr/>
            </p:nvSpPr>
            <p:spPr bwMode="auto">
              <a:xfrm>
                <a:off x="2910408" y="3277162"/>
                <a:ext cx="1286" cy="1286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5" name="Freeform 2900"/>
              <p:cNvSpPr>
                <a:spLocks/>
              </p:cNvSpPr>
              <p:nvPr/>
            </p:nvSpPr>
            <p:spPr bwMode="auto">
              <a:xfrm>
                <a:off x="2915550" y="2140784"/>
                <a:ext cx="2465581" cy="2149349"/>
              </a:xfrm>
              <a:custGeom>
                <a:avLst/>
                <a:gdLst/>
                <a:ahLst/>
                <a:cxnLst>
                  <a:cxn ang="0">
                    <a:pos x="1038" y="1058"/>
                  </a:cxn>
                  <a:cxn ang="0">
                    <a:pos x="1320" y="1284"/>
                  </a:cxn>
                  <a:cxn ang="0">
                    <a:pos x="1796" y="1340"/>
                  </a:cxn>
                  <a:cxn ang="0">
                    <a:pos x="1910" y="1424"/>
                  </a:cxn>
                  <a:cxn ang="0">
                    <a:pos x="1918" y="1420"/>
                  </a:cxn>
                  <a:cxn ang="0">
                    <a:pos x="1874" y="1366"/>
                  </a:cxn>
                  <a:cxn ang="0">
                    <a:pos x="1864" y="1366"/>
                  </a:cxn>
                  <a:cxn ang="0">
                    <a:pos x="1798" y="1334"/>
                  </a:cxn>
                  <a:cxn ang="0">
                    <a:pos x="1326" y="1280"/>
                  </a:cxn>
                  <a:cxn ang="0">
                    <a:pos x="1058" y="1050"/>
                  </a:cxn>
                  <a:cxn ang="0">
                    <a:pos x="1830" y="954"/>
                  </a:cxn>
                  <a:cxn ang="0">
                    <a:pos x="1138" y="972"/>
                  </a:cxn>
                  <a:cxn ang="0">
                    <a:pos x="1134" y="974"/>
                  </a:cxn>
                  <a:cxn ang="0">
                    <a:pos x="1052" y="974"/>
                  </a:cxn>
                  <a:cxn ang="0">
                    <a:pos x="508" y="498"/>
                  </a:cxn>
                  <a:cxn ang="0">
                    <a:pos x="1128" y="616"/>
                  </a:cxn>
                  <a:cxn ang="0">
                    <a:pos x="1128" y="618"/>
                  </a:cxn>
                  <a:cxn ang="0">
                    <a:pos x="1734" y="610"/>
                  </a:cxn>
                  <a:cxn ang="0">
                    <a:pos x="1726" y="604"/>
                  </a:cxn>
                  <a:cxn ang="0">
                    <a:pos x="1710" y="542"/>
                  </a:cxn>
                  <a:cxn ang="0">
                    <a:pos x="1726" y="604"/>
                  </a:cxn>
                  <a:cxn ang="0">
                    <a:pos x="1126" y="518"/>
                  </a:cxn>
                  <a:cxn ang="0">
                    <a:pos x="972" y="252"/>
                  </a:cxn>
                  <a:cxn ang="0">
                    <a:pos x="972" y="248"/>
                  </a:cxn>
                  <a:cxn ang="0">
                    <a:pos x="976" y="0"/>
                  </a:cxn>
                  <a:cxn ang="0">
                    <a:pos x="974" y="0"/>
                  </a:cxn>
                  <a:cxn ang="0">
                    <a:pos x="966" y="510"/>
                  </a:cxn>
                  <a:cxn ang="0">
                    <a:pos x="316" y="468"/>
                  </a:cxn>
                  <a:cxn ang="0">
                    <a:pos x="342" y="348"/>
                  </a:cxn>
                  <a:cxn ang="0">
                    <a:pos x="336" y="350"/>
                  </a:cxn>
                  <a:cxn ang="0">
                    <a:pos x="500" y="498"/>
                  </a:cxn>
                  <a:cxn ang="0">
                    <a:pos x="0" y="884"/>
                  </a:cxn>
                  <a:cxn ang="0">
                    <a:pos x="452" y="968"/>
                  </a:cxn>
                  <a:cxn ang="0">
                    <a:pos x="418" y="1672"/>
                  </a:cxn>
                  <a:cxn ang="0">
                    <a:pos x="1050" y="982"/>
                  </a:cxn>
                  <a:cxn ang="0">
                    <a:pos x="1030" y="1050"/>
                  </a:cxn>
                  <a:cxn ang="0">
                    <a:pos x="672" y="1602"/>
                  </a:cxn>
                  <a:cxn ang="0">
                    <a:pos x="674" y="1646"/>
                  </a:cxn>
                  <a:cxn ang="0">
                    <a:pos x="676" y="1610"/>
                  </a:cxn>
                </a:cxnLst>
                <a:rect l="0" t="0" r="r" b="b"/>
                <a:pathLst>
                  <a:path w="1918" h="1672">
                    <a:moveTo>
                      <a:pt x="1046" y="1620"/>
                    </a:moveTo>
                    <a:lnTo>
                      <a:pt x="1038" y="1058"/>
                    </a:lnTo>
                    <a:lnTo>
                      <a:pt x="1308" y="1048"/>
                    </a:lnTo>
                    <a:lnTo>
                      <a:pt x="1320" y="1284"/>
                    </a:lnTo>
                    <a:lnTo>
                      <a:pt x="1528" y="1352"/>
                    </a:lnTo>
                    <a:lnTo>
                      <a:pt x="1796" y="1340"/>
                    </a:lnTo>
                    <a:lnTo>
                      <a:pt x="1906" y="1386"/>
                    </a:lnTo>
                    <a:lnTo>
                      <a:pt x="1910" y="1424"/>
                    </a:lnTo>
                    <a:lnTo>
                      <a:pt x="1910" y="1420"/>
                    </a:lnTo>
                    <a:lnTo>
                      <a:pt x="1918" y="1420"/>
                    </a:lnTo>
                    <a:lnTo>
                      <a:pt x="1914" y="1382"/>
                    </a:lnTo>
                    <a:lnTo>
                      <a:pt x="1874" y="1366"/>
                    </a:lnTo>
                    <a:lnTo>
                      <a:pt x="1874" y="1370"/>
                    </a:lnTo>
                    <a:lnTo>
                      <a:pt x="1864" y="1366"/>
                    </a:lnTo>
                    <a:lnTo>
                      <a:pt x="1864" y="1362"/>
                    </a:lnTo>
                    <a:lnTo>
                      <a:pt x="1798" y="1334"/>
                    </a:lnTo>
                    <a:lnTo>
                      <a:pt x="1528" y="1348"/>
                    </a:lnTo>
                    <a:lnTo>
                      <a:pt x="1326" y="1280"/>
                    </a:lnTo>
                    <a:lnTo>
                      <a:pt x="1312" y="1042"/>
                    </a:lnTo>
                    <a:lnTo>
                      <a:pt x="1058" y="1050"/>
                    </a:lnTo>
                    <a:lnTo>
                      <a:pt x="1056" y="982"/>
                    </a:lnTo>
                    <a:lnTo>
                      <a:pt x="1830" y="954"/>
                    </a:lnTo>
                    <a:lnTo>
                      <a:pt x="1828" y="948"/>
                    </a:lnTo>
                    <a:lnTo>
                      <a:pt x="1138" y="972"/>
                    </a:lnTo>
                    <a:lnTo>
                      <a:pt x="1138" y="974"/>
                    </a:lnTo>
                    <a:lnTo>
                      <a:pt x="1134" y="974"/>
                    </a:lnTo>
                    <a:lnTo>
                      <a:pt x="1134" y="972"/>
                    </a:lnTo>
                    <a:lnTo>
                      <a:pt x="1052" y="974"/>
                    </a:lnTo>
                    <a:lnTo>
                      <a:pt x="458" y="964"/>
                    </a:lnTo>
                    <a:lnTo>
                      <a:pt x="508" y="498"/>
                    </a:lnTo>
                    <a:lnTo>
                      <a:pt x="1120" y="524"/>
                    </a:lnTo>
                    <a:lnTo>
                      <a:pt x="1128" y="616"/>
                    </a:lnTo>
                    <a:lnTo>
                      <a:pt x="1128" y="616"/>
                    </a:lnTo>
                    <a:lnTo>
                      <a:pt x="1128" y="618"/>
                    </a:lnTo>
                    <a:lnTo>
                      <a:pt x="1736" y="610"/>
                    </a:lnTo>
                    <a:lnTo>
                      <a:pt x="1734" y="610"/>
                    </a:lnTo>
                    <a:lnTo>
                      <a:pt x="1726" y="610"/>
                    </a:lnTo>
                    <a:lnTo>
                      <a:pt x="1726" y="604"/>
                    </a:lnTo>
                    <a:lnTo>
                      <a:pt x="1732" y="604"/>
                    </a:lnTo>
                    <a:lnTo>
                      <a:pt x="1710" y="542"/>
                    </a:lnTo>
                    <a:lnTo>
                      <a:pt x="1704" y="542"/>
                    </a:lnTo>
                    <a:lnTo>
                      <a:pt x="1726" y="604"/>
                    </a:lnTo>
                    <a:lnTo>
                      <a:pt x="1132" y="612"/>
                    </a:lnTo>
                    <a:lnTo>
                      <a:pt x="1126" y="518"/>
                    </a:lnTo>
                    <a:lnTo>
                      <a:pt x="968" y="514"/>
                    </a:lnTo>
                    <a:lnTo>
                      <a:pt x="972" y="252"/>
                    </a:lnTo>
                    <a:lnTo>
                      <a:pt x="972" y="252"/>
                    </a:lnTo>
                    <a:lnTo>
                      <a:pt x="972" y="248"/>
                    </a:lnTo>
                    <a:lnTo>
                      <a:pt x="972" y="248"/>
                    </a:lnTo>
                    <a:lnTo>
                      <a:pt x="976" y="0"/>
                    </a:lnTo>
                    <a:lnTo>
                      <a:pt x="974" y="0"/>
                    </a:lnTo>
                    <a:lnTo>
                      <a:pt x="974" y="0"/>
                    </a:lnTo>
                    <a:lnTo>
                      <a:pt x="972" y="0"/>
                    </a:lnTo>
                    <a:lnTo>
                      <a:pt x="966" y="510"/>
                    </a:lnTo>
                    <a:lnTo>
                      <a:pt x="508" y="496"/>
                    </a:lnTo>
                    <a:lnTo>
                      <a:pt x="316" y="468"/>
                    </a:lnTo>
                    <a:lnTo>
                      <a:pt x="344" y="348"/>
                    </a:lnTo>
                    <a:lnTo>
                      <a:pt x="342" y="348"/>
                    </a:lnTo>
                    <a:lnTo>
                      <a:pt x="342" y="352"/>
                    </a:lnTo>
                    <a:lnTo>
                      <a:pt x="336" y="350"/>
                    </a:lnTo>
                    <a:lnTo>
                      <a:pt x="312" y="472"/>
                    </a:lnTo>
                    <a:lnTo>
                      <a:pt x="500" y="498"/>
                    </a:lnTo>
                    <a:lnTo>
                      <a:pt x="452" y="964"/>
                    </a:lnTo>
                    <a:lnTo>
                      <a:pt x="0" y="884"/>
                    </a:lnTo>
                    <a:lnTo>
                      <a:pt x="0" y="888"/>
                    </a:lnTo>
                    <a:lnTo>
                      <a:pt x="452" y="968"/>
                    </a:lnTo>
                    <a:lnTo>
                      <a:pt x="410" y="1672"/>
                    </a:lnTo>
                    <a:lnTo>
                      <a:pt x="418" y="1672"/>
                    </a:lnTo>
                    <a:lnTo>
                      <a:pt x="458" y="968"/>
                    </a:lnTo>
                    <a:lnTo>
                      <a:pt x="1050" y="982"/>
                    </a:lnTo>
                    <a:lnTo>
                      <a:pt x="1050" y="1050"/>
                    </a:lnTo>
                    <a:lnTo>
                      <a:pt x="1030" y="1050"/>
                    </a:lnTo>
                    <a:lnTo>
                      <a:pt x="1038" y="1610"/>
                    </a:lnTo>
                    <a:lnTo>
                      <a:pt x="672" y="1602"/>
                    </a:lnTo>
                    <a:lnTo>
                      <a:pt x="670" y="1642"/>
                    </a:lnTo>
                    <a:lnTo>
                      <a:pt x="674" y="1646"/>
                    </a:lnTo>
                    <a:lnTo>
                      <a:pt x="676" y="1648"/>
                    </a:lnTo>
                    <a:lnTo>
                      <a:pt x="676" y="1610"/>
                    </a:lnTo>
                    <a:lnTo>
                      <a:pt x="1046" y="162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6" name="Freeform 2901"/>
              <p:cNvSpPr>
                <a:spLocks/>
              </p:cNvSpPr>
              <p:nvPr/>
            </p:nvSpPr>
            <p:spPr bwMode="auto">
              <a:xfrm>
                <a:off x="4977485" y="2328466"/>
                <a:ext cx="136263" cy="506485"/>
              </a:xfrm>
              <a:custGeom>
                <a:avLst/>
                <a:gdLst/>
                <a:ahLst/>
                <a:cxnLst>
                  <a:cxn ang="0">
                    <a:pos x="12" y="136"/>
                  </a:cxn>
                  <a:cxn ang="0">
                    <a:pos x="8" y="0"/>
                  </a:cxn>
                  <a:cxn ang="0">
                    <a:pos x="0" y="2"/>
                  </a:cxn>
                  <a:cxn ang="0">
                    <a:pos x="4" y="140"/>
                  </a:cxn>
                  <a:cxn ang="0">
                    <a:pos x="98" y="394"/>
                  </a:cxn>
                  <a:cxn ang="0">
                    <a:pos x="106" y="394"/>
                  </a:cxn>
                  <a:cxn ang="0">
                    <a:pos x="12" y="136"/>
                  </a:cxn>
                </a:cxnLst>
                <a:rect l="0" t="0" r="r" b="b"/>
                <a:pathLst>
                  <a:path w="106" h="394">
                    <a:moveTo>
                      <a:pt x="12" y="136"/>
                    </a:moveTo>
                    <a:lnTo>
                      <a:pt x="8" y="0"/>
                    </a:lnTo>
                    <a:lnTo>
                      <a:pt x="0" y="2"/>
                    </a:lnTo>
                    <a:lnTo>
                      <a:pt x="4" y="140"/>
                    </a:lnTo>
                    <a:lnTo>
                      <a:pt x="98" y="394"/>
                    </a:lnTo>
                    <a:lnTo>
                      <a:pt x="106" y="394"/>
                    </a:lnTo>
                    <a:lnTo>
                      <a:pt x="12" y="13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7" name="Freeform 2902"/>
              <p:cNvSpPr>
                <a:spLocks/>
              </p:cNvSpPr>
              <p:nvPr/>
            </p:nvSpPr>
            <p:spPr bwMode="auto">
              <a:xfrm>
                <a:off x="4861790" y="1513462"/>
                <a:ext cx="125979" cy="815004"/>
              </a:xfrm>
              <a:custGeom>
                <a:avLst/>
                <a:gdLst/>
                <a:ahLst/>
                <a:cxnLst>
                  <a:cxn ang="0">
                    <a:pos x="98" y="626"/>
                  </a:cxn>
                  <a:cxn ang="0">
                    <a:pos x="92" y="448"/>
                  </a:cxn>
                  <a:cxn ang="0">
                    <a:pos x="62" y="410"/>
                  </a:cxn>
                  <a:cxn ang="0">
                    <a:pos x="80" y="378"/>
                  </a:cxn>
                  <a:cxn ang="0">
                    <a:pos x="6" y="2"/>
                  </a:cxn>
                  <a:cxn ang="0">
                    <a:pos x="0" y="0"/>
                  </a:cxn>
                  <a:cxn ang="0">
                    <a:pos x="74" y="378"/>
                  </a:cxn>
                  <a:cxn ang="0">
                    <a:pos x="54" y="410"/>
                  </a:cxn>
                  <a:cxn ang="0">
                    <a:pos x="84" y="448"/>
                  </a:cxn>
                  <a:cxn ang="0">
                    <a:pos x="90" y="634"/>
                  </a:cxn>
                  <a:cxn ang="0">
                    <a:pos x="90" y="626"/>
                  </a:cxn>
                  <a:cxn ang="0">
                    <a:pos x="98" y="626"/>
                  </a:cxn>
                </a:cxnLst>
                <a:rect l="0" t="0" r="r" b="b"/>
                <a:pathLst>
                  <a:path w="98" h="634">
                    <a:moveTo>
                      <a:pt x="98" y="626"/>
                    </a:moveTo>
                    <a:lnTo>
                      <a:pt x="92" y="448"/>
                    </a:lnTo>
                    <a:lnTo>
                      <a:pt x="62" y="410"/>
                    </a:lnTo>
                    <a:lnTo>
                      <a:pt x="80" y="378"/>
                    </a:lnTo>
                    <a:lnTo>
                      <a:pt x="6" y="2"/>
                    </a:lnTo>
                    <a:lnTo>
                      <a:pt x="0" y="0"/>
                    </a:lnTo>
                    <a:lnTo>
                      <a:pt x="74" y="378"/>
                    </a:lnTo>
                    <a:lnTo>
                      <a:pt x="54" y="410"/>
                    </a:lnTo>
                    <a:lnTo>
                      <a:pt x="84" y="448"/>
                    </a:lnTo>
                    <a:lnTo>
                      <a:pt x="90" y="634"/>
                    </a:lnTo>
                    <a:lnTo>
                      <a:pt x="90" y="626"/>
                    </a:lnTo>
                    <a:lnTo>
                      <a:pt x="98" y="62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8" name="Rectangle 2903"/>
              <p:cNvSpPr>
                <a:spLocks noChangeArrowheads="1"/>
              </p:cNvSpPr>
              <p:nvPr/>
            </p:nvSpPr>
            <p:spPr bwMode="auto">
              <a:xfrm>
                <a:off x="4365589" y="2932649"/>
                <a:ext cx="1286" cy="2571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89" name="Rectangle 2904"/>
              <p:cNvSpPr>
                <a:spLocks noChangeArrowheads="1"/>
              </p:cNvSpPr>
              <p:nvPr/>
            </p:nvSpPr>
            <p:spPr bwMode="auto">
              <a:xfrm>
                <a:off x="4373302" y="3390286"/>
                <a:ext cx="5142" cy="2571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0" name="Freeform 2905"/>
              <p:cNvSpPr>
                <a:spLocks/>
              </p:cNvSpPr>
              <p:nvPr/>
            </p:nvSpPr>
            <p:spPr bwMode="auto">
              <a:xfrm>
                <a:off x="5103463" y="2834952"/>
                <a:ext cx="10284" cy="25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2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1" name="Freeform 2906"/>
              <p:cNvSpPr>
                <a:spLocks/>
              </p:cNvSpPr>
              <p:nvPr/>
            </p:nvSpPr>
            <p:spPr bwMode="auto">
              <a:xfrm>
                <a:off x="3347476" y="2585565"/>
                <a:ext cx="7713" cy="7713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6" y="6"/>
                  </a:cxn>
                  <a:cxn ang="0">
                    <a:pos x="6" y="2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6" h="6">
                    <a:moveTo>
                      <a:pt x="0" y="4"/>
                    </a:moveTo>
                    <a:lnTo>
                      <a:pt x="6" y="6"/>
                    </a:lnTo>
                    <a:lnTo>
                      <a:pt x="6" y="2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2" name="Rectangle 2907"/>
              <p:cNvSpPr>
                <a:spLocks noChangeArrowheads="1"/>
              </p:cNvSpPr>
              <p:nvPr/>
            </p:nvSpPr>
            <p:spPr bwMode="auto">
              <a:xfrm>
                <a:off x="4165051" y="2140784"/>
                <a:ext cx="2571" cy="1286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3" name="Freeform 2908"/>
              <p:cNvSpPr>
                <a:spLocks/>
              </p:cNvSpPr>
              <p:nvPr/>
            </p:nvSpPr>
            <p:spPr bwMode="auto">
              <a:xfrm>
                <a:off x="2910408" y="3277162"/>
                <a:ext cx="5142" cy="514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4" y="4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2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4" name="Freeform 2909"/>
              <p:cNvSpPr>
                <a:spLocks/>
              </p:cNvSpPr>
              <p:nvPr/>
            </p:nvSpPr>
            <p:spPr bwMode="auto">
              <a:xfrm>
                <a:off x="4165051" y="2457016"/>
                <a:ext cx="827859" cy="79701"/>
              </a:xfrm>
              <a:custGeom>
                <a:avLst/>
                <a:gdLst/>
                <a:ahLst/>
                <a:cxnLst>
                  <a:cxn ang="0">
                    <a:pos x="644" y="62"/>
                  </a:cxn>
                  <a:cxn ang="0">
                    <a:pos x="642" y="54"/>
                  </a:cxn>
                  <a:cxn ang="0">
                    <a:pos x="47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74" y="4"/>
                  </a:cxn>
                  <a:cxn ang="0">
                    <a:pos x="644" y="62"/>
                  </a:cxn>
                </a:cxnLst>
                <a:rect l="0" t="0" r="r" b="b"/>
                <a:pathLst>
                  <a:path w="644" h="62">
                    <a:moveTo>
                      <a:pt x="644" y="62"/>
                    </a:moveTo>
                    <a:lnTo>
                      <a:pt x="642" y="54"/>
                    </a:lnTo>
                    <a:lnTo>
                      <a:pt x="47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74" y="4"/>
                    </a:lnTo>
                    <a:lnTo>
                      <a:pt x="644" y="6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5" name="Rectangle 2910"/>
              <p:cNvSpPr>
                <a:spLocks noChangeArrowheads="1"/>
              </p:cNvSpPr>
              <p:nvPr/>
            </p:nvSpPr>
            <p:spPr bwMode="auto">
              <a:xfrm>
                <a:off x="4165051" y="2459587"/>
                <a:ext cx="1286" cy="5142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6" name="Freeform 2911"/>
              <p:cNvSpPr>
                <a:spLocks/>
              </p:cNvSpPr>
              <p:nvPr/>
            </p:nvSpPr>
            <p:spPr bwMode="auto">
              <a:xfrm>
                <a:off x="5995597" y="2511007"/>
                <a:ext cx="5142" cy="7713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4" y="4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4" y="4"/>
                  </a:cxn>
                </a:cxnLst>
                <a:rect l="0" t="0" r="r" b="b"/>
                <a:pathLst>
                  <a:path w="4" h="6">
                    <a:moveTo>
                      <a:pt x="4" y="4"/>
                    </a:moveTo>
                    <a:lnTo>
                      <a:pt x="4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7" name="Freeform 2912"/>
              <p:cNvSpPr>
                <a:spLocks/>
              </p:cNvSpPr>
              <p:nvPr/>
            </p:nvSpPr>
            <p:spPr bwMode="auto">
              <a:xfrm>
                <a:off x="5409411" y="1765419"/>
                <a:ext cx="7713" cy="7713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6" y="0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8" name="Freeform 2913"/>
              <p:cNvSpPr>
                <a:spLocks/>
              </p:cNvSpPr>
              <p:nvPr/>
            </p:nvSpPr>
            <p:spPr bwMode="auto">
              <a:xfrm>
                <a:off x="5309142" y="1773132"/>
                <a:ext cx="740445" cy="1516885"/>
              </a:xfrm>
              <a:custGeom>
                <a:avLst/>
                <a:gdLst/>
                <a:ahLst/>
                <a:cxnLst>
                  <a:cxn ang="0">
                    <a:pos x="0" y="130"/>
                  </a:cxn>
                  <a:cxn ang="0">
                    <a:pos x="30" y="268"/>
                  </a:cxn>
                  <a:cxn ang="0">
                    <a:pos x="168" y="352"/>
                  </a:cxn>
                  <a:cxn ang="0">
                    <a:pos x="178" y="410"/>
                  </a:cxn>
                  <a:cxn ang="0">
                    <a:pos x="194" y="484"/>
                  </a:cxn>
                  <a:cxn ang="0">
                    <a:pos x="266" y="554"/>
                  </a:cxn>
                  <a:cxn ang="0">
                    <a:pos x="274" y="610"/>
                  </a:cxn>
                  <a:cxn ang="0">
                    <a:pos x="214" y="676"/>
                  </a:cxn>
                  <a:cxn ang="0">
                    <a:pos x="234" y="716"/>
                  </a:cxn>
                  <a:cxn ang="0">
                    <a:pos x="194" y="786"/>
                  </a:cxn>
                  <a:cxn ang="0">
                    <a:pos x="194" y="816"/>
                  </a:cxn>
                  <a:cxn ang="0">
                    <a:pos x="196" y="816"/>
                  </a:cxn>
                  <a:cxn ang="0">
                    <a:pos x="196" y="820"/>
                  </a:cxn>
                  <a:cxn ang="0">
                    <a:pos x="194" y="820"/>
                  </a:cxn>
                  <a:cxn ang="0">
                    <a:pos x="194" y="834"/>
                  </a:cxn>
                  <a:cxn ang="0">
                    <a:pos x="292" y="960"/>
                  </a:cxn>
                  <a:cxn ang="0">
                    <a:pos x="324" y="960"/>
                  </a:cxn>
                  <a:cxn ang="0">
                    <a:pos x="324" y="1040"/>
                  </a:cxn>
                  <a:cxn ang="0">
                    <a:pos x="404" y="1098"/>
                  </a:cxn>
                  <a:cxn ang="0">
                    <a:pos x="434" y="1180"/>
                  </a:cxn>
                  <a:cxn ang="0">
                    <a:pos x="456" y="1136"/>
                  </a:cxn>
                  <a:cxn ang="0">
                    <a:pos x="506" y="1162"/>
                  </a:cxn>
                  <a:cxn ang="0">
                    <a:pos x="548" y="1106"/>
                  </a:cxn>
                  <a:cxn ang="0">
                    <a:pos x="560" y="1024"/>
                  </a:cxn>
                  <a:cxn ang="0">
                    <a:pos x="576" y="942"/>
                  </a:cxn>
                  <a:cxn ang="0">
                    <a:pos x="538" y="578"/>
                  </a:cxn>
                  <a:cxn ang="0">
                    <a:pos x="536" y="580"/>
                  </a:cxn>
                  <a:cxn ang="0">
                    <a:pos x="534" y="578"/>
                  </a:cxn>
                  <a:cxn ang="0">
                    <a:pos x="574" y="942"/>
                  </a:cxn>
                  <a:cxn ang="0">
                    <a:pos x="554" y="1024"/>
                  </a:cxn>
                  <a:cxn ang="0">
                    <a:pos x="546" y="1106"/>
                  </a:cxn>
                  <a:cxn ang="0">
                    <a:pos x="506" y="1158"/>
                  </a:cxn>
                  <a:cxn ang="0">
                    <a:pos x="456" y="1130"/>
                  </a:cxn>
                  <a:cxn ang="0">
                    <a:pos x="434" y="1172"/>
                  </a:cxn>
                  <a:cxn ang="0">
                    <a:pos x="406" y="1094"/>
                  </a:cxn>
                  <a:cxn ang="0">
                    <a:pos x="328" y="1040"/>
                  </a:cxn>
                  <a:cxn ang="0">
                    <a:pos x="328" y="956"/>
                  </a:cxn>
                  <a:cxn ang="0">
                    <a:pos x="294" y="956"/>
                  </a:cxn>
                  <a:cxn ang="0">
                    <a:pos x="198" y="834"/>
                  </a:cxn>
                  <a:cxn ang="0">
                    <a:pos x="198" y="786"/>
                  </a:cxn>
                  <a:cxn ang="0">
                    <a:pos x="240" y="716"/>
                  </a:cxn>
                  <a:cxn ang="0">
                    <a:pos x="220" y="676"/>
                  </a:cxn>
                  <a:cxn ang="0">
                    <a:pos x="276" y="610"/>
                  </a:cxn>
                  <a:cxn ang="0">
                    <a:pos x="268" y="550"/>
                  </a:cxn>
                  <a:cxn ang="0">
                    <a:pos x="198" y="484"/>
                  </a:cxn>
                  <a:cxn ang="0">
                    <a:pos x="170" y="350"/>
                  </a:cxn>
                  <a:cxn ang="0">
                    <a:pos x="32" y="268"/>
                  </a:cxn>
                  <a:cxn ang="0">
                    <a:pos x="4" y="134"/>
                  </a:cxn>
                  <a:cxn ang="0">
                    <a:pos x="40" y="92"/>
                  </a:cxn>
                  <a:cxn ang="0">
                    <a:pos x="82" y="0"/>
                  </a:cxn>
                  <a:cxn ang="0">
                    <a:pos x="78" y="0"/>
                  </a:cxn>
                  <a:cxn ang="0">
                    <a:pos x="40" y="88"/>
                  </a:cxn>
                  <a:cxn ang="0">
                    <a:pos x="0" y="130"/>
                  </a:cxn>
                </a:cxnLst>
                <a:rect l="0" t="0" r="r" b="b"/>
                <a:pathLst>
                  <a:path w="576" h="1180">
                    <a:moveTo>
                      <a:pt x="0" y="130"/>
                    </a:moveTo>
                    <a:lnTo>
                      <a:pt x="30" y="268"/>
                    </a:lnTo>
                    <a:lnTo>
                      <a:pt x="168" y="352"/>
                    </a:lnTo>
                    <a:lnTo>
                      <a:pt x="178" y="410"/>
                    </a:lnTo>
                    <a:lnTo>
                      <a:pt x="194" y="484"/>
                    </a:lnTo>
                    <a:lnTo>
                      <a:pt x="266" y="554"/>
                    </a:lnTo>
                    <a:lnTo>
                      <a:pt x="274" y="610"/>
                    </a:lnTo>
                    <a:lnTo>
                      <a:pt x="214" y="676"/>
                    </a:lnTo>
                    <a:lnTo>
                      <a:pt x="234" y="716"/>
                    </a:lnTo>
                    <a:lnTo>
                      <a:pt x="194" y="786"/>
                    </a:lnTo>
                    <a:lnTo>
                      <a:pt x="194" y="816"/>
                    </a:lnTo>
                    <a:lnTo>
                      <a:pt x="196" y="816"/>
                    </a:lnTo>
                    <a:lnTo>
                      <a:pt x="196" y="820"/>
                    </a:lnTo>
                    <a:lnTo>
                      <a:pt x="194" y="820"/>
                    </a:lnTo>
                    <a:lnTo>
                      <a:pt x="194" y="834"/>
                    </a:lnTo>
                    <a:lnTo>
                      <a:pt x="292" y="960"/>
                    </a:lnTo>
                    <a:lnTo>
                      <a:pt x="324" y="960"/>
                    </a:lnTo>
                    <a:lnTo>
                      <a:pt x="324" y="1040"/>
                    </a:lnTo>
                    <a:lnTo>
                      <a:pt x="404" y="1098"/>
                    </a:lnTo>
                    <a:lnTo>
                      <a:pt x="434" y="1180"/>
                    </a:lnTo>
                    <a:lnTo>
                      <a:pt x="456" y="1136"/>
                    </a:lnTo>
                    <a:lnTo>
                      <a:pt x="506" y="1162"/>
                    </a:lnTo>
                    <a:lnTo>
                      <a:pt x="548" y="1106"/>
                    </a:lnTo>
                    <a:lnTo>
                      <a:pt x="560" y="1024"/>
                    </a:lnTo>
                    <a:lnTo>
                      <a:pt x="576" y="942"/>
                    </a:lnTo>
                    <a:lnTo>
                      <a:pt x="538" y="578"/>
                    </a:lnTo>
                    <a:lnTo>
                      <a:pt x="536" y="580"/>
                    </a:lnTo>
                    <a:lnTo>
                      <a:pt x="534" y="578"/>
                    </a:lnTo>
                    <a:lnTo>
                      <a:pt x="574" y="942"/>
                    </a:lnTo>
                    <a:lnTo>
                      <a:pt x="554" y="1024"/>
                    </a:lnTo>
                    <a:lnTo>
                      <a:pt x="546" y="1106"/>
                    </a:lnTo>
                    <a:lnTo>
                      <a:pt x="506" y="1158"/>
                    </a:lnTo>
                    <a:lnTo>
                      <a:pt x="456" y="1130"/>
                    </a:lnTo>
                    <a:lnTo>
                      <a:pt x="434" y="1172"/>
                    </a:lnTo>
                    <a:lnTo>
                      <a:pt x="406" y="1094"/>
                    </a:lnTo>
                    <a:lnTo>
                      <a:pt x="328" y="1040"/>
                    </a:lnTo>
                    <a:lnTo>
                      <a:pt x="328" y="956"/>
                    </a:lnTo>
                    <a:lnTo>
                      <a:pt x="294" y="956"/>
                    </a:lnTo>
                    <a:lnTo>
                      <a:pt x="198" y="834"/>
                    </a:lnTo>
                    <a:lnTo>
                      <a:pt x="198" y="786"/>
                    </a:lnTo>
                    <a:lnTo>
                      <a:pt x="240" y="716"/>
                    </a:lnTo>
                    <a:lnTo>
                      <a:pt x="220" y="676"/>
                    </a:lnTo>
                    <a:lnTo>
                      <a:pt x="276" y="610"/>
                    </a:lnTo>
                    <a:lnTo>
                      <a:pt x="268" y="550"/>
                    </a:lnTo>
                    <a:lnTo>
                      <a:pt x="198" y="484"/>
                    </a:lnTo>
                    <a:lnTo>
                      <a:pt x="170" y="350"/>
                    </a:lnTo>
                    <a:lnTo>
                      <a:pt x="32" y="268"/>
                    </a:lnTo>
                    <a:lnTo>
                      <a:pt x="4" y="134"/>
                    </a:lnTo>
                    <a:lnTo>
                      <a:pt x="40" y="92"/>
                    </a:lnTo>
                    <a:lnTo>
                      <a:pt x="82" y="0"/>
                    </a:lnTo>
                    <a:lnTo>
                      <a:pt x="78" y="0"/>
                    </a:lnTo>
                    <a:lnTo>
                      <a:pt x="40" y="88"/>
                    </a:lnTo>
                    <a:lnTo>
                      <a:pt x="0" y="13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99" name="Rectangle 2914"/>
              <p:cNvSpPr>
                <a:spLocks noChangeArrowheads="1"/>
              </p:cNvSpPr>
              <p:nvPr/>
            </p:nvSpPr>
            <p:spPr bwMode="auto">
              <a:xfrm>
                <a:off x="5558529" y="2822097"/>
                <a:ext cx="2571" cy="5142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0" name="Freeform 2915"/>
              <p:cNvSpPr>
                <a:spLocks/>
              </p:cNvSpPr>
              <p:nvPr/>
            </p:nvSpPr>
            <p:spPr bwMode="auto">
              <a:xfrm>
                <a:off x="4987769" y="2297614"/>
                <a:ext cx="550192" cy="30852"/>
              </a:xfrm>
              <a:custGeom>
                <a:avLst/>
                <a:gdLst/>
                <a:ahLst/>
                <a:cxnLst>
                  <a:cxn ang="0">
                    <a:pos x="428" y="6"/>
                  </a:cxn>
                  <a:cxn ang="0">
                    <a:pos x="426" y="0"/>
                  </a:cxn>
                  <a:cxn ang="0">
                    <a:pos x="0" y="16"/>
                  </a:cxn>
                  <a:cxn ang="0">
                    <a:pos x="0" y="24"/>
                  </a:cxn>
                  <a:cxn ang="0">
                    <a:pos x="428" y="6"/>
                  </a:cxn>
                </a:cxnLst>
                <a:rect l="0" t="0" r="r" b="b"/>
                <a:pathLst>
                  <a:path w="428" h="24">
                    <a:moveTo>
                      <a:pt x="428" y="6"/>
                    </a:moveTo>
                    <a:lnTo>
                      <a:pt x="426" y="0"/>
                    </a:lnTo>
                    <a:lnTo>
                      <a:pt x="0" y="16"/>
                    </a:lnTo>
                    <a:lnTo>
                      <a:pt x="0" y="24"/>
                    </a:lnTo>
                    <a:lnTo>
                      <a:pt x="428" y="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1" name="Freeform 2916"/>
              <p:cNvSpPr>
                <a:spLocks/>
              </p:cNvSpPr>
              <p:nvPr/>
            </p:nvSpPr>
            <p:spPr bwMode="auto">
              <a:xfrm>
                <a:off x="4977485" y="2328466"/>
                <a:ext cx="1286" cy="2571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2" name="Freeform 2917"/>
              <p:cNvSpPr>
                <a:spLocks/>
              </p:cNvSpPr>
              <p:nvPr/>
            </p:nvSpPr>
            <p:spPr bwMode="auto">
              <a:xfrm>
                <a:off x="4977485" y="2318182"/>
                <a:ext cx="10284" cy="1285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0" y="0"/>
                  </a:cxn>
                  <a:cxn ang="0">
                    <a:pos x="0" y="8"/>
                  </a:cxn>
                  <a:cxn ang="0">
                    <a:pos x="0" y="10"/>
                  </a:cxn>
                  <a:cxn ang="0">
                    <a:pos x="8" y="8"/>
                  </a:cxn>
                  <a:cxn ang="0">
                    <a:pos x="8" y="0"/>
                  </a:cxn>
                </a:cxnLst>
                <a:rect l="0" t="0" r="r" b="b"/>
                <a:pathLst>
                  <a:path w="8" h="10">
                    <a:moveTo>
                      <a:pt x="8" y="0"/>
                    </a:moveTo>
                    <a:lnTo>
                      <a:pt x="0" y="0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8" y="8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3" name="Freeform 2918"/>
              <p:cNvSpPr>
                <a:spLocks/>
              </p:cNvSpPr>
              <p:nvPr/>
            </p:nvSpPr>
            <p:spPr bwMode="auto">
              <a:xfrm>
                <a:off x="4167622" y="2004521"/>
                <a:ext cx="786723" cy="7713"/>
              </a:xfrm>
              <a:custGeom>
                <a:avLst/>
                <a:gdLst/>
                <a:ahLst/>
                <a:cxnLst>
                  <a:cxn ang="0">
                    <a:pos x="61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610" y="4"/>
                  </a:cxn>
                  <a:cxn ang="0">
                    <a:pos x="612" y="0"/>
                  </a:cxn>
                </a:cxnLst>
                <a:rect l="0" t="0" r="r" b="b"/>
                <a:pathLst>
                  <a:path w="612" h="6">
                    <a:moveTo>
                      <a:pt x="612" y="0"/>
                    </a:moveTo>
                    <a:lnTo>
                      <a:pt x="0" y="2"/>
                    </a:lnTo>
                    <a:lnTo>
                      <a:pt x="0" y="6"/>
                    </a:lnTo>
                    <a:lnTo>
                      <a:pt x="610" y="4"/>
                    </a:lnTo>
                    <a:lnTo>
                      <a:pt x="612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4" name="Rectangle 2919"/>
              <p:cNvSpPr>
                <a:spLocks noChangeArrowheads="1"/>
              </p:cNvSpPr>
              <p:nvPr/>
            </p:nvSpPr>
            <p:spPr bwMode="auto">
              <a:xfrm>
                <a:off x="4165051" y="2007092"/>
                <a:ext cx="2571" cy="5142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5" name="Freeform 2920"/>
              <p:cNvSpPr>
                <a:spLocks/>
              </p:cNvSpPr>
              <p:nvPr/>
            </p:nvSpPr>
            <p:spPr bwMode="auto">
              <a:xfrm>
                <a:off x="5882473" y="1942818"/>
                <a:ext cx="17997" cy="5142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14" y="4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4" y="4"/>
                  </a:cxn>
                </a:cxnLst>
                <a:rect l="0" t="0" r="r" b="b"/>
                <a:pathLst>
                  <a:path w="14" h="4">
                    <a:moveTo>
                      <a:pt x="4" y="4"/>
                    </a:moveTo>
                    <a:lnTo>
                      <a:pt x="14" y="4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6" name="Freeform 2921"/>
              <p:cNvSpPr>
                <a:spLocks/>
              </p:cNvSpPr>
              <p:nvPr/>
            </p:nvSpPr>
            <p:spPr bwMode="auto">
              <a:xfrm>
                <a:off x="5537961" y="1791129"/>
                <a:ext cx="349655" cy="156830"/>
              </a:xfrm>
              <a:custGeom>
                <a:avLst/>
                <a:gdLst/>
                <a:ahLst/>
                <a:cxnLst>
                  <a:cxn ang="0">
                    <a:pos x="230" y="84"/>
                  </a:cxn>
                  <a:cxn ang="0">
                    <a:pos x="240" y="122"/>
                  </a:cxn>
                  <a:cxn ang="0">
                    <a:pos x="272" y="122"/>
                  </a:cxn>
                  <a:cxn ang="0">
                    <a:pos x="268" y="122"/>
                  </a:cxn>
                  <a:cxn ang="0">
                    <a:pos x="268" y="118"/>
                  </a:cxn>
                  <a:cxn ang="0">
                    <a:pos x="242" y="118"/>
                  </a:cxn>
                  <a:cxn ang="0">
                    <a:pos x="236" y="80"/>
                  </a:cxn>
                  <a:cxn ang="0">
                    <a:pos x="24" y="52"/>
                  </a:cxn>
                  <a:cxn ang="0">
                    <a:pos x="6" y="0"/>
                  </a:cxn>
                  <a:cxn ang="0">
                    <a:pos x="0" y="0"/>
                  </a:cxn>
                  <a:cxn ang="0">
                    <a:pos x="22" y="58"/>
                  </a:cxn>
                  <a:cxn ang="0">
                    <a:pos x="230" y="84"/>
                  </a:cxn>
                </a:cxnLst>
                <a:rect l="0" t="0" r="r" b="b"/>
                <a:pathLst>
                  <a:path w="272" h="122">
                    <a:moveTo>
                      <a:pt x="230" y="84"/>
                    </a:moveTo>
                    <a:lnTo>
                      <a:pt x="240" y="122"/>
                    </a:lnTo>
                    <a:lnTo>
                      <a:pt x="272" y="122"/>
                    </a:lnTo>
                    <a:lnTo>
                      <a:pt x="268" y="122"/>
                    </a:lnTo>
                    <a:lnTo>
                      <a:pt x="268" y="118"/>
                    </a:lnTo>
                    <a:lnTo>
                      <a:pt x="242" y="118"/>
                    </a:lnTo>
                    <a:lnTo>
                      <a:pt x="236" y="80"/>
                    </a:lnTo>
                    <a:lnTo>
                      <a:pt x="24" y="5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22" y="58"/>
                    </a:lnTo>
                    <a:lnTo>
                      <a:pt x="230" y="8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7" name="Freeform 2922"/>
              <p:cNvSpPr>
                <a:spLocks/>
              </p:cNvSpPr>
              <p:nvPr/>
            </p:nvSpPr>
            <p:spPr bwMode="auto">
              <a:xfrm>
                <a:off x="5142028" y="2917223"/>
                <a:ext cx="182540" cy="979548"/>
              </a:xfrm>
              <a:custGeom>
                <a:avLst/>
                <a:gdLst/>
                <a:ahLst/>
                <a:cxnLst>
                  <a:cxn ang="0">
                    <a:pos x="28" y="66"/>
                  </a:cxn>
                  <a:cxn ang="0">
                    <a:pos x="46" y="0"/>
                  </a:cxn>
                  <a:cxn ang="0">
                    <a:pos x="0" y="0"/>
                  </a:cxn>
                  <a:cxn ang="0">
                    <a:pos x="2" y="6"/>
                  </a:cxn>
                  <a:cxn ang="0">
                    <a:pos x="38" y="6"/>
                  </a:cxn>
                  <a:cxn ang="0">
                    <a:pos x="22" y="68"/>
                  </a:cxn>
                  <a:cxn ang="0">
                    <a:pos x="76" y="96"/>
                  </a:cxn>
                  <a:cxn ang="0">
                    <a:pos x="96" y="344"/>
                  </a:cxn>
                  <a:cxn ang="0">
                    <a:pos x="102" y="344"/>
                  </a:cxn>
                  <a:cxn ang="0">
                    <a:pos x="100" y="350"/>
                  </a:cxn>
                  <a:cxn ang="0">
                    <a:pos x="98" y="350"/>
                  </a:cxn>
                  <a:cxn ang="0">
                    <a:pos x="132" y="758"/>
                  </a:cxn>
                  <a:cxn ang="0">
                    <a:pos x="142" y="762"/>
                  </a:cxn>
                  <a:cxn ang="0">
                    <a:pos x="110" y="404"/>
                  </a:cxn>
                  <a:cxn ang="0">
                    <a:pos x="106" y="404"/>
                  </a:cxn>
                  <a:cxn ang="0">
                    <a:pos x="106" y="400"/>
                  </a:cxn>
                  <a:cxn ang="0">
                    <a:pos x="110" y="400"/>
                  </a:cxn>
                  <a:cxn ang="0">
                    <a:pos x="82" y="90"/>
                  </a:cxn>
                  <a:cxn ang="0">
                    <a:pos x="28" y="66"/>
                  </a:cxn>
                </a:cxnLst>
                <a:rect l="0" t="0" r="r" b="b"/>
                <a:pathLst>
                  <a:path w="142" h="762">
                    <a:moveTo>
                      <a:pt x="28" y="66"/>
                    </a:moveTo>
                    <a:lnTo>
                      <a:pt x="46" y="0"/>
                    </a:lnTo>
                    <a:lnTo>
                      <a:pt x="0" y="0"/>
                    </a:lnTo>
                    <a:lnTo>
                      <a:pt x="2" y="6"/>
                    </a:lnTo>
                    <a:lnTo>
                      <a:pt x="38" y="6"/>
                    </a:lnTo>
                    <a:lnTo>
                      <a:pt x="22" y="68"/>
                    </a:lnTo>
                    <a:lnTo>
                      <a:pt x="76" y="96"/>
                    </a:lnTo>
                    <a:lnTo>
                      <a:pt x="96" y="344"/>
                    </a:lnTo>
                    <a:lnTo>
                      <a:pt x="102" y="344"/>
                    </a:lnTo>
                    <a:lnTo>
                      <a:pt x="100" y="350"/>
                    </a:lnTo>
                    <a:lnTo>
                      <a:pt x="98" y="350"/>
                    </a:lnTo>
                    <a:lnTo>
                      <a:pt x="132" y="758"/>
                    </a:lnTo>
                    <a:lnTo>
                      <a:pt x="142" y="762"/>
                    </a:lnTo>
                    <a:lnTo>
                      <a:pt x="110" y="404"/>
                    </a:lnTo>
                    <a:lnTo>
                      <a:pt x="106" y="404"/>
                    </a:lnTo>
                    <a:lnTo>
                      <a:pt x="106" y="400"/>
                    </a:lnTo>
                    <a:lnTo>
                      <a:pt x="110" y="400"/>
                    </a:lnTo>
                    <a:lnTo>
                      <a:pt x="82" y="90"/>
                    </a:lnTo>
                    <a:lnTo>
                      <a:pt x="28" y="6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8" name="Freeform 2923"/>
              <p:cNvSpPr>
                <a:spLocks/>
              </p:cNvSpPr>
              <p:nvPr/>
            </p:nvSpPr>
            <p:spPr bwMode="auto">
              <a:xfrm>
                <a:off x="5311713" y="3891629"/>
                <a:ext cx="12855" cy="1028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0" y="8"/>
                  </a:cxn>
                  <a:cxn ang="0">
                    <a:pos x="10" y="4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0" h="8">
                    <a:moveTo>
                      <a:pt x="0" y="4"/>
                    </a:moveTo>
                    <a:lnTo>
                      <a:pt x="10" y="8"/>
                    </a:lnTo>
                    <a:lnTo>
                      <a:pt x="10" y="4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09" name="Freeform 2924"/>
              <p:cNvSpPr>
                <a:spLocks/>
              </p:cNvSpPr>
              <p:nvPr/>
            </p:nvSpPr>
            <p:spPr bwMode="auto">
              <a:xfrm>
                <a:off x="5265436" y="3359434"/>
                <a:ext cx="7713" cy="7713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0" y="0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6" y="0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lnTo>
                      <a:pt x="0" y="0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0" name="Freeform 2925"/>
              <p:cNvSpPr>
                <a:spLocks/>
              </p:cNvSpPr>
              <p:nvPr/>
            </p:nvSpPr>
            <p:spPr bwMode="auto">
              <a:xfrm>
                <a:off x="5134315" y="2917223"/>
                <a:ext cx="10284" cy="77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6"/>
                  </a:cxn>
                  <a:cxn ang="0">
                    <a:pos x="8" y="6"/>
                  </a:cxn>
                  <a:cxn ang="0">
                    <a:pos x="6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6">
                    <a:moveTo>
                      <a:pt x="0" y="0"/>
                    </a:moveTo>
                    <a:lnTo>
                      <a:pt x="0" y="6"/>
                    </a:lnTo>
                    <a:lnTo>
                      <a:pt x="8" y="6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1" name="Freeform 2926"/>
              <p:cNvSpPr>
                <a:spLocks/>
              </p:cNvSpPr>
              <p:nvPr/>
            </p:nvSpPr>
            <p:spPr bwMode="auto">
              <a:xfrm>
                <a:off x="7512482" y="2958359"/>
                <a:ext cx="5142" cy="5142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4"/>
                  </a:cxn>
                  <a:cxn ang="0">
                    <a:pos x="4" y="4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2" name="Freeform 2927"/>
              <p:cNvSpPr>
                <a:spLocks/>
              </p:cNvSpPr>
              <p:nvPr/>
            </p:nvSpPr>
            <p:spPr bwMode="auto">
              <a:xfrm>
                <a:off x="5283432" y="2958359"/>
                <a:ext cx="2231620" cy="529624"/>
              </a:xfrm>
              <a:custGeom>
                <a:avLst/>
                <a:gdLst/>
                <a:ahLst/>
                <a:cxnLst>
                  <a:cxn ang="0">
                    <a:pos x="1024" y="202"/>
                  </a:cxn>
                  <a:cxn ang="0">
                    <a:pos x="1022" y="206"/>
                  </a:cxn>
                  <a:cxn ang="0">
                    <a:pos x="1014" y="210"/>
                  </a:cxn>
                  <a:cxn ang="0">
                    <a:pos x="1018" y="204"/>
                  </a:cxn>
                  <a:cxn ang="0">
                    <a:pos x="756" y="258"/>
                  </a:cxn>
                  <a:cxn ang="0">
                    <a:pos x="476" y="304"/>
                  </a:cxn>
                  <a:cxn ang="0">
                    <a:pos x="454" y="308"/>
                  </a:cxn>
                  <a:cxn ang="0">
                    <a:pos x="454" y="402"/>
                  </a:cxn>
                  <a:cxn ang="0">
                    <a:pos x="374" y="408"/>
                  </a:cxn>
                  <a:cxn ang="0">
                    <a:pos x="390" y="360"/>
                  </a:cxn>
                  <a:cxn ang="0">
                    <a:pos x="0" y="368"/>
                  </a:cxn>
                  <a:cxn ang="0">
                    <a:pos x="0" y="372"/>
                  </a:cxn>
                  <a:cxn ang="0">
                    <a:pos x="384" y="364"/>
                  </a:cxn>
                  <a:cxn ang="0">
                    <a:pos x="366" y="412"/>
                  </a:cxn>
                  <a:cxn ang="0">
                    <a:pos x="450" y="406"/>
                  </a:cxn>
                  <a:cxn ang="0">
                    <a:pos x="450" y="404"/>
                  </a:cxn>
                  <a:cxn ang="0">
                    <a:pos x="454" y="404"/>
                  </a:cxn>
                  <a:cxn ang="0">
                    <a:pos x="454" y="406"/>
                  </a:cxn>
                  <a:cxn ang="0">
                    <a:pos x="456" y="406"/>
                  </a:cxn>
                  <a:cxn ang="0">
                    <a:pos x="456" y="310"/>
                  </a:cxn>
                  <a:cxn ang="0">
                    <a:pos x="478" y="310"/>
                  </a:cxn>
                  <a:cxn ang="0">
                    <a:pos x="756" y="264"/>
                  </a:cxn>
                  <a:cxn ang="0">
                    <a:pos x="1186" y="176"/>
                  </a:cxn>
                  <a:cxn ang="0">
                    <a:pos x="1186" y="176"/>
                  </a:cxn>
                  <a:cxn ang="0">
                    <a:pos x="1188" y="174"/>
                  </a:cxn>
                  <a:cxn ang="0">
                    <a:pos x="1192" y="172"/>
                  </a:cxn>
                  <a:cxn ang="0">
                    <a:pos x="1190" y="174"/>
                  </a:cxn>
                  <a:cxn ang="0">
                    <a:pos x="1736" y="4"/>
                  </a:cxn>
                  <a:cxn ang="0">
                    <a:pos x="1734" y="0"/>
                  </a:cxn>
                  <a:cxn ang="0">
                    <a:pos x="1188" y="172"/>
                  </a:cxn>
                  <a:cxn ang="0">
                    <a:pos x="1024" y="202"/>
                  </a:cxn>
                </a:cxnLst>
                <a:rect l="0" t="0" r="r" b="b"/>
                <a:pathLst>
                  <a:path w="1736" h="412">
                    <a:moveTo>
                      <a:pt x="1024" y="202"/>
                    </a:moveTo>
                    <a:lnTo>
                      <a:pt x="1022" y="206"/>
                    </a:lnTo>
                    <a:lnTo>
                      <a:pt x="1014" y="210"/>
                    </a:lnTo>
                    <a:lnTo>
                      <a:pt x="1018" y="204"/>
                    </a:lnTo>
                    <a:lnTo>
                      <a:pt x="756" y="258"/>
                    </a:lnTo>
                    <a:lnTo>
                      <a:pt x="476" y="304"/>
                    </a:lnTo>
                    <a:lnTo>
                      <a:pt x="454" y="308"/>
                    </a:lnTo>
                    <a:lnTo>
                      <a:pt x="454" y="402"/>
                    </a:lnTo>
                    <a:lnTo>
                      <a:pt x="374" y="408"/>
                    </a:lnTo>
                    <a:lnTo>
                      <a:pt x="390" y="360"/>
                    </a:lnTo>
                    <a:lnTo>
                      <a:pt x="0" y="368"/>
                    </a:lnTo>
                    <a:lnTo>
                      <a:pt x="0" y="372"/>
                    </a:lnTo>
                    <a:lnTo>
                      <a:pt x="384" y="364"/>
                    </a:lnTo>
                    <a:lnTo>
                      <a:pt x="366" y="412"/>
                    </a:lnTo>
                    <a:lnTo>
                      <a:pt x="450" y="406"/>
                    </a:lnTo>
                    <a:lnTo>
                      <a:pt x="450" y="404"/>
                    </a:lnTo>
                    <a:lnTo>
                      <a:pt x="454" y="404"/>
                    </a:lnTo>
                    <a:lnTo>
                      <a:pt x="454" y="406"/>
                    </a:lnTo>
                    <a:lnTo>
                      <a:pt x="456" y="406"/>
                    </a:lnTo>
                    <a:lnTo>
                      <a:pt x="456" y="310"/>
                    </a:lnTo>
                    <a:lnTo>
                      <a:pt x="478" y="310"/>
                    </a:lnTo>
                    <a:lnTo>
                      <a:pt x="756" y="264"/>
                    </a:lnTo>
                    <a:lnTo>
                      <a:pt x="1186" y="176"/>
                    </a:lnTo>
                    <a:lnTo>
                      <a:pt x="1186" y="176"/>
                    </a:lnTo>
                    <a:lnTo>
                      <a:pt x="1188" y="174"/>
                    </a:lnTo>
                    <a:lnTo>
                      <a:pt x="1192" y="172"/>
                    </a:lnTo>
                    <a:lnTo>
                      <a:pt x="1190" y="174"/>
                    </a:lnTo>
                    <a:lnTo>
                      <a:pt x="1736" y="4"/>
                    </a:lnTo>
                    <a:lnTo>
                      <a:pt x="1734" y="0"/>
                    </a:lnTo>
                    <a:lnTo>
                      <a:pt x="1188" y="172"/>
                    </a:lnTo>
                    <a:lnTo>
                      <a:pt x="1024" y="20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3" name="Freeform 2928"/>
              <p:cNvSpPr>
                <a:spLocks/>
              </p:cNvSpPr>
              <p:nvPr/>
            </p:nvSpPr>
            <p:spPr bwMode="auto">
              <a:xfrm>
                <a:off x="6808030" y="3179464"/>
                <a:ext cx="7713" cy="514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4" y="2"/>
                  </a:cxn>
                  <a:cxn ang="0">
                    <a:pos x="6" y="0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4" name="Freeform 2929"/>
              <p:cNvSpPr>
                <a:spLocks/>
              </p:cNvSpPr>
              <p:nvPr/>
            </p:nvSpPr>
            <p:spPr bwMode="auto">
              <a:xfrm>
                <a:off x="6586925" y="3218029"/>
                <a:ext cx="12855" cy="10284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0" y="8"/>
                  </a:cxn>
                  <a:cxn ang="0">
                    <a:pos x="8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2"/>
                  </a:cxn>
                </a:cxnLst>
                <a:rect l="0" t="0" r="r" b="b"/>
                <a:pathLst>
                  <a:path w="10" h="8">
                    <a:moveTo>
                      <a:pt x="4" y="2"/>
                    </a:moveTo>
                    <a:lnTo>
                      <a:pt x="0" y="8"/>
                    </a:lnTo>
                    <a:lnTo>
                      <a:pt x="8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5" name="Rectangle 2930"/>
              <p:cNvSpPr>
                <a:spLocks noChangeArrowheads="1"/>
              </p:cNvSpPr>
              <p:nvPr/>
            </p:nvSpPr>
            <p:spPr bwMode="auto">
              <a:xfrm>
                <a:off x="5278291" y="3431422"/>
                <a:ext cx="5142" cy="5142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6" name="Freeform 2931"/>
              <p:cNvSpPr>
                <a:spLocks/>
              </p:cNvSpPr>
              <p:nvPr/>
            </p:nvSpPr>
            <p:spPr bwMode="auto">
              <a:xfrm>
                <a:off x="7260525" y="3495696"/>
                <a:ext cx="5142" cy="7713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2" y="6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7" name="Freeform 2932"/>
              <p:cNvSpPr>
                <a:spLocks/>
              </p:cNvSpPr>
              <p:nvPr/>
            </p:nvSpPr>
            <p:spPr bwMode="auto">
              <a:xfrm>
                <a:off x="6005881" y="4333839"/>
                <a:ext cx="7713" cy="5142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6" h="4">
                    <a:moveTo>
                      <a:pt x="0" y="4"/>
                    </a:moveTo>
                    <a:lnTo>
                      <a:pt x="6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8" name="Freeform 2933"/>
              <p:cNvSpPr>
                <a:spLocks/>
              </p:cNvSpPr>
              <p:nvPr/>
            </p:nvSpPr>
            <p:spPr bwMode="auto">
              <a:xfrm>
                <a:off x="5381130" y="3362005"/>
                <a:ext cx="1881966" cy="971835"/>
              </a:xfrm>
              <a:custGeom>
                <a:avLst/>
                <a:gdLst/>
                <a:ahLst/>
                <a:cxnLst>
                  <a:cxn ang="0">
                    <a:pos x="1250" y="34"/>
                  </a:cxn>
                  <a:cxn ang="0">
                    <a:pos x="1218" y="0"/>
                  </a:cxn>
                  <a:cxn ang="0">
                    <a:pos x="968" y="98"/>
                  </a:cxn>
                  <a:cxn ang="0">
                    <a:pos x="906" y="108"/>
                  </a:cxn>
                  <a:cxn ang="0">
                    <a:pos x="906" y="108"/>
                  </a:cxn>
                  <a:cxn ang="0">
                    <a:pos x="900" y="112"/>
                  </a:cxn>
                  <a:cxn ang="0">
                    <a:pos x="902" y="108"/>
                  </a:cxn>
                  <a:cxn ang="0">
                    <a:pos x="554" y="166"/>
                  </a:cxn>
                  <a:cxn ang="0">
                    <a:pos x="348" y="186"/>
                  </a:cxn>
                  <a:cxn ang="0">
                    <a:pos x="378" y="92"/>
                  </a:cxn>
                  <a:cxn ang="0">
                    <a:pos x="374" y="92"/>
                  </a:cxn>
                  <a:cxn ang="0">
                    <a:pos x="270" y="410"/>
                  </a:cxn>
                  <a:cxn ang="0">
                    <a:pos x="280" y="450"/>
                  </a:cxn>
                  <a:cxn ang="0">
                    <a:pos x="0" y="470"/>
                  </a:cxn>
                  <a:cxn ang="0">
                    <a:pos x="0" y="474"/>
                  </a:cxn>
                  <a:cxn ang="0">
                    <a:pos x="280" y="454"/>
                  </a:cxn>
                  <a:cxn ang="0">
                    <a:pos x="310" y="544"/>
                  </a:cxn>
                  <a:cxn ang="0">
                    <a:pos x="276" y="694"/>
                  </a:cxn>
                  <a:cxn ang="0">
                    <a:pos x="448" y="684"/>
                  </a:cxn>
                  <a:cxn ang="0">
                    <a:pos x="486" y="756"/>
                  </a:cxn>
                  <a:cxn ang="0">
                    <a:pos x="490" y="756"/>
                  </a:cxn>
                  <a:cxn ang="0">
                    <a:pos x="452" y="678"/>
                  </a:cxn>
                  <a:cxn ang="0">
                    <a:pos x="280" y="692"/>
                  </a:cxn>
                  <a:cxn ang="0">
                    <a:pos x="312" y="542"/>
                  </a:cxn>
                  <a:cxn ang="0">
                    <a:pos x="274" y="410"/>
                  </a:cxn>
                  <a:cxn ang="0">
                    <a:pos x="348" y="192"/>
                  </a:cxn>
                  <a:cxn ang="0">
                    <a:pos x="552" y="170"/>
                  </a:cxn>
                  <a:cxn ang="0">
                    <a:pos x="780" y="134"/>
                  </a:cxn>
                  <a:cxn ang="0">
                    <a:pos x="780" y="132"/>
                  </a:cxn>
                  <a:cxn ang="0">
                    <a:pos x="786" y="130"/>
                  </a:cxn>
                  <a:cxn ang="0">
                    <a:pos x="786" y="132"/>
                  </a:cxn>
                  <a:cxn ang="0">
                    <a:pos x="968" y="102"/>
                  </a:cxn>
                  <a:cxn ang="0">
                    <a:pos x="1218" y="6"/>
                  </a:cxn>
                  <a:cxn ang="0">
                    <a:pos x="1248" y="38"/>
                  </a:cxn>
                  <a:cxn ang="0">
                    <a:pos x="1330" y="22"/>
                  </a:cxn>
                  <a:cxn ang="0">
                    <a:pos x="1462" y="110"/>
                  </a:cxn>
                  <a:cxn ang="0">
                    <a:pos x="1464" y="104"/>
                  </a:cxn>
                  <a:cxn ang="0">
                    <a:pos x="1330" y="16"/>
                  </a:cxn>
                  <a:cxn ang="0">
                    <a:pos x="1250" y="34"/>
                  </a:cxn>
                </a:cxnLst>
                <a:rect l="0" t="0" r="r" b="b"/>
                <a:pathLst>
                  <a:path w="1464" h="756">
                    <a:moveTo>
                      <a:pt x="1250" y="34"/>
                    </a:moveTo>
                    <a:lnTo>
                      <a:pt x="1218" y="0"/>
                    </a:lnTo>
                    <a:lnTo>
                      <a:pt x="968" y="98"/>
                    </a:lnTo>
                    <a:lnTo>
                      <a:pt x="906" y="108"/>
                    </a:lnTo>
                    <a:lnTo>
                      <a:pt x="906" y="108"/>
                    </a:lnTo>
                    <a:lnTo>
                      <a:pt x="900" y="112"/>
                    </a:lnTo>
                    <a:lnTo>
                      <a:pt x="902" y="108"/>
                    </a:lnTo>
                    <a:lnTo>
                      <a:pt x="554" y="166"/>
                    </a:lnTo>
                    <a:lnTo>
                      <a:pt x="348" y="186"/>
                    </a:lnTo>
                    <a:lnTo>
                      <a:pt x="378" y="92"/>
                    </a:lnTo>
                    <a:lnTo>
                      <a:pt x="374" y="92"/>
                    </a:lnTo>
                    <a:lnTo>
                      <a:pt x="270" y="410"/>
                    </a:lnTo>
                    <a:lnTo>
                      <a:pt x="280" y="450"/>
                    </a:lnTo>
                    <a:lnTo>
                      <a:pt x="0" y="470"/>
                    </a:lnTo>
                    <a:lnTo>
                      <a:pt x="0" y="474"/>
                    </a:lnTo>
                    <a:lnTo>
                      <a:pt x="280" y="454"/>
                    </a:lnTo>
                    <a:lnTo>
                      <a:pt x="310" y="544"/>
                    </a:lnTo>
                    <a:lnTo>
                      <a:pt x="276" y="694"/>
                    </a:lnTo>
                    <a:lnTo>
                      <a:pt x="448" y="684"/>
                    </a:lnTo>
                    <a:lnTo>
                      <a:pt x="486" y="756"/>
                    </a:lnTo>
                    <a:lnTo>
                      <a:pt x="490" y="756"/>
                    </a:lnTo>
                    <a:lnTo>
                      <a:pt x="452" y="678"/>
                    </a:lnTo>
                    <a:lnTo>
                      <a:pt x="280" y="692"/>
                    </a:lnTo>
                    <a:lnTo>
                      <a:pt x="312" y="542"/>
                    </a:lnTo>
                    <a:lnTo>
                      <a:pt x="274" y="410"/>
                    </a:lnTo>
                    <a:lnTo>
                      <a:pt x="348" y="192"/>
                    </a:lnTo>
                    <a:lnTo>
                      <a:pt x="552" y="170"/>
                    </a:lnTo>
                    <a:lnTo>
                      <a:pt x="780" y="134"/>
                    </a:lnTo>
                    <a:lnTo>
                      <a:pt x="780" y="132"/>
                    </a:lnTo>
                    <a:lnTo>
                      <a:pt x="786" y="130"/>
                    </a:lnTo>
                    <a:lnTo>
                      <a:pt x="786" y="132"/>
                    </a:lnTo>
                    <a:lnTo>
                      <a:pt x="968" y="102"/>
                    </a:lnTo>
                    <a:lnTo>
                      <a:pt x="1218" y="6"/>
                    </a:lnTo>
                    <a:lnTo>
                      <a:pt x="1248" y="38"/>
                    </a:lnTo>
                    <a:lnTo>
                      <a:pt x="1330" y="22"/>
                    </a:lnTo>
                    <a:lnTo>
                      <a:pt x="1462" y="110"/>
                    </a:lnTo>
                    <a:lnTo>
                      <a:pt x="1464" y="104"/>
                    </a:lnTo>
                    <a:lnTo>
                      <a:pt x="1330" y="16"/>
                    </a:lnTo>
                    <a:lnTo>
                      <a:pt x="1250" y="3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19" name="Rectangle 2934"/>
              <p:cNvSpPr>
                <a:spLocks noChangeArrowheads="1"/>
              </p:cNvSpPr>
              <p:nvPr/>
            </p:nvSpPr>
            <p:spPr bwMode="auto">
              <a:xfrm>
                <a:off x="5370846" y="3971330"/>
                <a:ext cx="1286" cy="1286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0" name="Freeform 2935"/>
              <p:cNvSpPr>
                <a:spLocks/>
              </p:cNvSpPr>
              <p:nvPr/>
            </p:nvSpPr>
            <p:spPr bwMode="auto">
              <a:xfrm>
                <a:off x="6538076" y="3500838"/>
                <a:ext cx="7713" cy="5142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4"/>
                  </a:cxn>
                </a:cxnLst>
                <a:rect l="0" t="0" r="r" b="b"/>
                <a:pathLst>
                  <a:path w="6" h="4">
                    <a:moveTo>
                      <a:pt x="0" y="4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1" name="Freeform 2936"/>
              <p:cNvSpPr>
                <a:spLocks/>
              </p:cNvSpPr>
              <p:nvPr/>
            </p:nvSpPr>
            <p:spPr bwMode="auto">
              <a:xfrm>
                <a:off x="5370846" y="3966188"/>
                <a:ext cx="10284" cy="5142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8" y="4"/>
                  </a:cxn>
                  <a:cxn ang="0">
                    <a:pos x="8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8" h="4">
                    <a:moveTo>
                      <a:pt x="0" y="4"/>
                    </a:moveTo>
                    <a:lnTo>
                      <a:pt x="0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2" name="Rectangle 2937"/>
              <p:cNvSpPr>
                <a:spLocks noChangeArrowheads="1"/>
              </p:cNvSpPr>
              <p:nvPr/>
            </p:nvSpPr>
            <p:spPr bwMode="auto">
              <a:xfrm>
                <a:off x="5861906" y="3477699"/>
                <a:ext cx="5142" cy="2571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3" name="Freeform 2938"/>
              <p:cNvSpPr>
                <a:spLocks/>
              </p:cNvSpPr>
              <p:nvPr/>
            </p:nvSpPr>
            <p:spPr bwMode="auto">
              <a:xfrm>
                <a:off x="6265551" y="4277278"/>
                <a:ext cx="7713" cy="5142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6" y="4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4"/>
                  </a:cxn>
                </a:cxnLst>
                <a:rect l="0" t="0" r="r" b="b"/>
                <a:pathLst>
                  <a:path w="6" h="4">
                    <a:moveTo>
                      <a:pt x="0" y="4"/>
                    </a:moveTo>
                    <a:lnTo>
                      <a:pt x="6" y="4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4" name="Freeform 2939"/>
              <p:cNvSpPr>
                <a:spLocks/>
              </p:cNvSpPr>
              <p:nvPr/>
            </p:nvSpPr>
            <p:spPr bwMode="auto">
              <a:xfrm>
                <a:off x="6208989" y="3531690"/>
                <a:ext cx="858711" cy="748158"/>
              </a:xfrm>
              <a:custGeom>
                <a:avLst/>
                <a:gdLst/>
                <a:ahLst/>
                <a:cxnLst>
                  <a:cxn ang="0">
                    <a:pos x="278" y="474"/>
                  </a:cxn>
                  <a:cxn ang="0">
                    <a:pos x="280" y="486"/>
                  </a:cxn>
                  <a:cxn ang="0">
                    <a:pos x="302" y="516"/>
                  </a:cxn>
                  <a:cxn ang="0">
                    <a:pos x="562" y="474"/>
                  </a:cxn>
                  <a:cxn ang="0">
                    <a:pos x="604" y="488"/>
                  </a:cxn>
                  <a:cxn ang="0">
                    <a:pos x="604" y="438"/>
                  </a:cxn>
                  <a:cxn ang="0">
                    <a:pos x="668" y="438"/>
                  </a:cxn>
                  <a:cxn ang="0">
                    <a:pos x="668" y="430"/>
                  </a:cxn>
                  <a:cxn ang="0">
                    <a:pos x="598" y="432"/>
                  </a:cxn>
                  <a:cxn ang="0">
                    <a:pos x="598" y="480"/>
                  </a:cxn>
                  <a:cxn ang="0">
                    <a:pos x="564" y="468"/>
                  </a:cxn>
                  <a:cxn ang="0">
                    <a:pos x="302" y="510"/>
                  </a:cxn>
                  <a:cxn ang="0">
                    <a:pos x="284" y="486"/>
                  </a:cxn>
                  <a:cxn ang="0">
                    <a:pos x="262" y="330"/>
                  </a:cxn>
                  <a:cxn ang="0">
                    <a:pos x="142" y="0"/>
                  </a:cxn>
                  <a:cxn ang="0">
                    <a:pos x="136" y="2"/>
                  </a:cxn>
                  <a:cxn ang="0">
                    <a:pos x="260" y="332"/>
                  </a:cxn>
                  <a:cxn ang="0">
                    <a:pos x="278" y="468"/>
                  </a:cxn>
                  <a:cxn ang="0">
                    <a:pos x="0" y="492"/>
                  </a:cxn>
                  <a:cxn ang="0">
                    <a:pos x="44" y="582"/>
                  </a:cxn>
                  <a:cxn ang="0">
                    <a:pos x="48" y="580"/>
                  </a:cxn>
                  <a:cxn ang="0">
                    <a:pos x="4" y="494"/>
                  </a:cxn>
                  <a:cxn ang="0">
                    <a:pos x="278" y="474"/>
                  </a:cxn>
                </a:cxnLst>
                <a:rect l="0" t="0" r="r" b="b"/>
                <a:pathLst>
                  <a:path w="668" h="582">
                    <a:moveTo>
                      <a:pt x="278" y="474"/>
                    </a:moveTo>
                    <a:lnTo>
                      <a:pt x="280" y="486"/>
                    </a:lnTo>
                    <a:lnTo>
                      <a:pt x="302" y="516"/>
                    </a:lnTo>
                    <a:lnTo>
                      <a:pt x="562" y="474"/>
                    </a:lnTo>
                    <a:lnTo>
                      <a:pt x="604" y="488"/>
                    </a:lnTo>
                    <a:lnTo>
                      <a:pt x="604" y="438"/>
                    </a:lnTo>
                    <a:lnTo>
                      <a:pt x="668" y="438"/>
                    </a:lnTo>
                    <a:lnTo>
                      <a:pt x="668" y="430"/>
                    </a:lnTo>
                    <a:lnTo>
                      <a:pt x="598" y="432"/>
                    </a:lnTo>
                    <a:lnTo>
                      <a:pt x="598" y="480"/>
                    </a:lnTo>
                    <a:lnTo>
                      <a:pt x="564" y="468"/>
                    </a:lnTo>
                    <a:lnTo>
                      <a:pt x="302" y="510"/>
                    </a:lnTo>
                    <a:lnTo>
                      <a:pt x="284" y="486"/>
                    </a:lnTo>
                    <a:lnTo>
                      <a:pt x="262" y="330"/>
                    </a:lnTo>
                    <a:lnTo>
                      <a:pt x="142" y="0"/>
                    </a:lnTo>
                    <a:lnTo>
                      <a:pt x="136" y="2"/>
                    </a:lnTo>
                    <a:lnTo>
                      <a:pt x="260" y="332"/>
                    </a:lnTo>
                    <a:lnTo>
                      <a:pt x="278" y="468"/>
                    </a:lnTo>
                    <a:lnTo>
                      <a:pt x="0" y="492"/>
                    </a:lnTo>
                    <a:lnTo>
                      <a:pt x="44" y="582"/>
                    </a:lnTo>
                    <a:lnTo>
                      <a:pt x="48" y="580"/>
                    </a:lnTo>
                    <a:lnTo>
                      <a:pt x="4" y="494"/>
                    </a:lnTo>
                    <a:lnTo>
                      <a:pt x="278" y="47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5" name="Freeform 2940"/>
              <p:cNvSpPr>
                <a:spLocks/>
              </p:cNvSpPr>
              <p:nvPr/>
            </p:nvSpPr>
            <p:spPr bwMode="auto">
              <a:xfrm>
                <a:off x="6383817" y="3529119"/>
                <a:ext cx="7713" cy="514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6" y="2"/>
                  </a:cxn>
                  <a:cxn ang="0">
                    <a:pos x="6" y="0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6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6" name="Freeform 2941"/>
              <p:cNvSpPr>
                <a:spLocks/>
              </p:cNvSpPr>
              <p:nvPr/>
            </p:nvSpPr>
            <p:spPr bwMode="auto">
              <a:xfrm>
                <a:off x="7093410" y="3855635"/>
                <a:ext cx="5142" cy="7713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6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7" name="Freeform 2942"/>
              <p:cNvSpPr>
                <a:spLocks/>
              </p:cNvSpPr>
              <p:nvPr/>
            </p:nvSpPr>
            <p:spPr bwMode="auto">
              <a:xfrm>
                <a:off x="6689765" y="3457131"/>
                <a:ext cx="406217" cy="401075"/>
              </a:xfrm>
              <a:custGeom>
                <a:avLst/>
                <a:gdLst/>
                <a:ahLst/>
                <a:cxnLst>
                  <a:cxn ang="0">
                    <a:pos x="54" y="50"/>
                  </a:cxn>
                  <a:cxn ang="0">
                    <a:pos x="6" y="54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0" y="56"/>
                  </a:cxn>
                  <a:cxn ang="0">
                    <a:pos x="52" y="54"/>
                  </a:cxn>
                  <a:cxn ang="0">
                    <a:pos x="52" y="88"/>
                  </a:cxn>
                  <a:cxn ang="0">
                    <a:pos x="314" y="312"/>
                  </a:cxn>
                  <a:cxn ang="0">
                    <a:pos x="316" y="310"/>
                  </a:cxn>
                  <a:cxn ang="0">
                    <a:pos x="54" y="86"/>
                  </a:cxn>
                  <a:cxn ang="0">
                    <a:pos x="54" y="50"/>
                  </a:cxn>
                </a:cxnLst>
                <a:rect l="0" t="0" r="r" b="b"/>
                <a:pathLst>
                  <a:path w="316" h="312">
                    <a:moveTo>
                      <a:pt x="54" y="50"/>
                    </a:moveTo>
                    <a:lnTo>
                      <a:pt x="6" y="54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0" y="56"/>
                    </a:lnTo>
                    <a:lnTo>
                      <a:pt x="52" y="54"/>
                    </a:lnTo>
                    <a:lnTo>
                      <a:pt x="52" y="88"/>
                    </a:lnTo>
                    <a:lnTo>
                      <a:pt x="314" y="312"/>
                    </a:lnTo>
                    <a:lnTo>
                      <a:pt x="316" y="310"/>
                    </a:lnTo>
                    <a:lnTo>
                      <a:pt x="54" y="86"/>
                    </a:lnTo>
                    <a:lnTo>
                      <a:pt x="54" y="5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8" name="Freeform 2943"/>
              <p:cNvSpPr>
                <a:spLocks/>
              </p:cNvSpPr>
              <p:nvPr/>
            </p:nvSpPr>
            <p:spPr bwMode="auto">
              <a:xfrm>
                <a:off x="6460946" y="2418451"/>
                <a:ext cx="15426" cy="5142"/>
              </a:xfrm>
              <a:custGeom>
                <a:avLst/>
                <a:gdLst/>
                <a:ahLst/>
                <a:cxnLst>
                  <a:cxn ang="0">
                    <a:pos x="12" y="2"/>
                  </a:cxn>
                  <a:cxn ang="0">
                    <a:pos x="6" y="0"/>
                  </a:cxn>
                  <a:cxn ang="0">
                    <a:pos x="0" y="2"/>
                  </a:cxn>
                  <a:cxn ang="0">
                    <a:pos x="6" y="4"/>
                  </a:cxn>
                  <a:cxn ang="0">
                    <a:pos x="12" y="2"/>
                  </a:cxn>
                </a:cxnLst>
                <a:rect l="0" t="0" r="r" b="b"/>
                <a:pathLst>
                  <a:path w="12" h="4">
                    <a:moveTo>
                      <a:pt x="12" y="2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6" y="4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29" name="Freeform 2944"/>
              <p:cNvSpPr>
                <a:spLocks/>
              </p:cNvSpPr>
              <p:nvPr/>
            </p:nvSpPr>
            <p:spPr bwMode="auto">
              <a:xfrm>
                <a:off x="6031591" y="2480155"/>
                <a:ext cx="10284" cy="7713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8" y="0"/>
                  </a:cxn>
                  <a:cxn ang="0">
                    <a:pos x="6" y="0"/>
                  </a:cxn>
                </a:cxnLst>
                <a:rect l="0" t="0" r="r" b="b"/>
                <a:pathLst>
                  <a:path w="8" h="6">
                    <a:moveTo>
                      <a:pt x="6" y="0"/>
                    </a:moveTo>
                    <a:lnTo>
                      <a:pt x="0" y="6"/>
                    </a:lnTo>
                    <a:lnTo>
                      <a:pt x="2" y="6"/>
                    </a:lnTo>
                    <a:lnTo>
                      <a:pt x="8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0" name="Freeform 2945"/>
              <p:cNvSpPr>
                <a:spLocks/>
              </p:cNvSpPr>
              <p:nvPr/>
            </p:nvSpPr>
            <p:spPr bwMode="auto">
              <a:xfrm>
                <a:off x="6034162" y="2421022"/>
                <a:ext cx="434498" cy="439639"/>
              </a:xfrm>
              <a:custGeom>
                <a:avLst/>
                <a:gdLst/>
                <a:ahLst/>
                <a:cxnLst>
                  <a:cxn ang="0">
                    <a:pos x="258" y="342"/>
                  </a:cxn>
                  <a:cxn ang="0">
                    <a:pos x="258" y="340"/>
                  </a:cxn>
                  <a:cxn ang="0">
                    <a:pos x="262" y="340"/>
                  </a:cxn>
                  <a:cxn ang="0">
                    <a:pos x="196" y="46"/>
                  </a:cxn>
                  <a:cxn ang="0">
                    <a:pos x="338" y="2"/>
                  </a:cxn>
                  <a:cxn ang="0">
                    <a:pos x="332" y="0"/>
                  </a:cxn>
                  <a:cxn ang="0">
                    <a:pos x="194" y="42"/>
                  </a:cxn>
                  <a:cxn ang="0">
                    <a:pos x="6" y="46"/>
                  </a:cxn>
                  <a:cxn ang="0">
                    <a:pos x="0" y="52"/>
                  </a:cxn>
                  <a:cxn ang="0">
                    <a:pos x="190" y="46"/>
                  </a:cxn>
                  <a:cxn ang="0">
                    <a:pos x="258" y="342"/>
                  </a:cxn>
                </a:cxnLst>
                <a:rect l="0" t="0" r="r" b="b"/>
                <a:pathLst>
                  <a:path w="338" h="342">
                    <a:moveTo>
                      <a:pt x="258" y="342"/>
                    </a:moveTo>
                    <a:lnTo>
                      <a:pt x="258" y="340"/>
                    </a:lnTo>
                    <a:lnTo>
                      <a:pt x="262" y="340"/>
                    </a:lnTo>
                    <a:lnTo>
                      <a:pt x="196" y="46"/>
                    </a:lnTo>
                    <a:lnTo>
                      <a:pt x="338" y="2"/>
                    </a:lnTo>
                    <a:lnTo>
                      <a:pt x="332" y="0"/>
                    </a:lnTo>
                    <a:lnTo>
                      <a:pt x="194" y="42"/>
                    </a:lnTo>
                    <a:lnTo>
                      <a:pt x="6" y="46"/>
                    </a:lnTo>
                    <a:lnTo>
                      <a:pt x="0" y="52"/>
                    </a:lnTo>
                    <a:lnTo>
                      <a:pt x="190" y="46"/>
                    </a:lnTo>
                    <a:lnTo>
                      <a:pt x="258" y="34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1" name="Freeform 2946"/>
              <p:cNvSpPr>
                <a:spLocks/>
              </p:cNvSpPr>
              <p:nvPr/>
            </p:nvSpPr>
            <p:spPr bwMode="auto">
              <a:xfrm>
                <a:off x="6018736" y="2863233"/>
                <a:ext cx="357368" cy="300806"/>
              </a:xfrm>
              <a:custGeom>
                <a:avLst/>
                <a:gdLst/>
                <a:ahLst/>
                <a:cxnLst>
                  <a:cxn ang="0">
                    <a:pos x="274" y="12"/>
                  </a:cxn>
                  <a:cxn ang="0">
                    <a:pos x="236" y="52"/>
                  </a:cxn>
                  <a:cxn ang="0">
                    <a:pos x="186" y="160"/>
                  </a:cxn>
                  <a:cxn ang="0">
                    <a:pos x="158" y="146"/>
                  </a:cxn>
                  <a:cxn ang="0">
                    <a:pos x="78" y="200"/>
                  </a:cxn>
                  <a:cxn ang="0">
                    <a:pos x="54" y="186"/>
                  </a:cxn>
                  <a:cxn ang="0">
                    <a:pos x="0" y="230"/>
                  </a:cxn>
                  <a:cxn ang="0">
                    <a:pos x="0" y="234"/>
                  </a:cxn>
                  <a:cxn ang="0">
                    <a:pos x="54" y="190"/>
                  </a:cxn>
                  <a:cxn ang="0">
                    <a:pos x="78" y="206"/>
                  </a:cxn>
                  <a:cxn ang="0">
                    <a:pos x="158" y="150"/>
                  </a:cxn>
                  <a:cxn ang="0">
                    <a:pos x="188" y="164"/>
                  </a:cxn>
                  <a:cxn ang="0">
                    <a:pos x="238" y="54"/>
                  </a:cxn>
                  <a:cxn ang="0">
                    <a:pos x="278" y="14"/>
                  </a:cxn>
                  <a:cxn ang="0">
                    <a:pos x="274" y="2"/>
                  </a:cxn>
                  <a:cxn ang="0">
                    <a:pos x="270" y="0"/>
                  </a:cxn>
                  <a:cxn ang="0">
                    <a:pos x="274" y="12"/>
                  </a:cxn>
                </a:cxnLst>
                <a:rect l="0" t="0" r="r" b="b"/>
                <a:pathLst>
                  <a:path w="278" h="234">
                    <a:moveTo>
                      <a:pt x="274" y="12"/>
                    </a:moveTo>
                    <a:lnTo>
                      <a:pt x="236" y="52"/>
                    </a:lnTo>
                    <a:lnTo>
                      <a:pt x="186" y="160"/>
                    </a:lnTo>
                    <a:lnTo>
                      <a:pt x="158" y="146"/>
                    </a:lnTo>
                    <a:lnTo>
                      <a:pt x="78" y="200"/>
                    </a:lnTo>
                    <a:lnTo>
                      <a:pt x="54" y="186"/>
                    </a:lnTo>
                    <a:lnTo>
                      <a:pt x="0" y="230"/>
                    </a:lnTo>
                    <a:lnTo>
                      <a:pt x="0" y="234"/>
                    </a:lnTo>
                    <a:lnTo>
                      <a:pt x="54" y="190"/>
                    </a:lnTo>
                    <a:lnTo>
                      <a:pt x="78" y="206"/>
                    </a:lnTo>
                    <a:lnTo>
                      <a:pt x="158" y="150"/>
                    </a:lnTo>
                    <a:lnTo>
                      <a:pt x="188" y="164"/>
                    </a:lnTo>
                    <a:lnTo>
                      <a:pt x="238" y="54"/>
                    </a:lnTo>
                    <a:lnTo>
                      <a:pt x="278" y="14"/>
                    </a:lnTo>
                    <a:lnTo>
                      <a:pt x="274" y="2"/>
                    </a:lnTo>
                    <a:lnTo>
                      <a:pt x="270" y="0"/>
                    </a:lnTo>
                    <a:lnTo>
                      <a:pt x="274" y="1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2" name="Freeform 2947"/>
              <p:cNvSpPr>
                <a:spLocks/>
              </p:cNvSpPr>
              <p:nvPr/>
            </p:nvSpPr>
            <p:spPr bwMode="auto">
              <a:xfrm>
                <a:off x="7167969" y="2603562"/>
                <a:ext cx="2571" cy="25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3" name="Freeform 2948"/>
              <p:cNvSpPr>
                <a:spLocks/>
              </p:cNvSpPr>
              <p:nvPr/>
            </p:nvSpPr>
            <p:spPr bwMode="auto">
              <a:xfrm>
                <a:off x="6365820" y="2860662"/>
                <a:ext cx="1286" cy="2571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4" name="Freeform 2949"/>
              <p:cNvSpPr>
                <a:spLocks/>
              </p:cNvSpPr>
              <p:nvPr/>
            </p:nvSpPr>
            <p:spPr bwMode="auto">
              <a:xfrm>
                <a:off x="6370962" y="2313040"/>
                <a:ext cx="431927" cy="686455"/>
              </a:xfrm>
              <a:custGeom>
                <a:avLst/>
                <a:gdLst/>
                <a:ahLst/>
                <a:cxnLst>
                  <a:cxn ang="0">
                    <a:pos x="106" y="466"/>
                  </a:cxn>
                  <a:cxn ang="0">
                    <a:pos x="196" y="454"/>
                  </a:cxn>
                  <a:cxn ang="0">
                    <a:pos x="220" y="470"/>
                  </a:cxn>
                  <a:cxn ang="0">
                    <a:pos x="234" y="512"/>
                  </a:cxn>
                  <a:cxn ang="0">
                    <a:pos x="286" y="534"/>
                  </a:cxn>
                  <a:cxn ang="0">
                    <a:pos x="288" y="532"/>
                  </a:cxn>
                  <a:cxn ang="0">
                    <a:pos x="236" y="510"/>
                  </a:cxn>
                  <a:cxn ang="0">
                    <a:pos x="226" y="474"/>
                  </a:cxn>
                  <a:cxn ang="0">
                    <a:pos x="232" y="480"/>
                  </a:cxn>
                  <a:cxn ang="0">
                    <a:pos x="290" y="348"/>
                  </a:cxn>
                  <a:cxn ang="0">
                    <a:pos x="324" y="288"/>
                  </a:cxn>
                  <a:cxn ang="0">
                    <a:pos x="334" y="210"/>
                  </a:cxn>
                  <a:cxn ang="0">
                    <a:pos x="334" y="208"/>
                  </a:cxn>
                  <a:cxn ang="0">
                    <a:pos x="334" y="208"/>
                  </a:cxn>
                  <a:cxn ang="0">
                    <a:pos x="336" y="200"/>
                  </a:cxn>
                  <a:cxn ang="0">
                    <a:pos x="262" y="0"/>
                  </a:cxn>
                  <a:cxn ang="0">
                    <a:pos x="260" y="6"/>
                  </a:cxn>
                  <a:cxn ang="0">
                    <a:pos x="330" y="202"/>
                  </a:cxn>
                  <a:cxn ang="0">
                    <a:pos x="320" y="286"/>
                  </a:cxn>
                  <a:cxn ang="0">
                    <a:pos x="288" y="346"/>
                  </a:cxn>
                  <a:cxn ang="0">
                    <a:pos x="232" y="470"/>
                  </a:cxn>
                  <a:cxn ang="0">
                    <a:pos x="198" y="450"/>
                  </a:cxn>
                  <a:cxn ang="0">
                    <a:pos x="106" y="462"/>
                  </a:cxn>
                  <a:cxn ang="0">
                    <a:pos x="0" y="424"/>
                  </a:cxn>
                  <a:cxn ang="0">
                    <a:pos x="0" y="430"/>
                  </a:cxn>
                  <a:cxn ang="0">
                    <a:pos x="106" y="466"/>
                  </a:cxn>
                </a:cxnLst>
                <a:rect l="0" t="0" r="r" b="b"/>
                <a:pathLst>
                  <a:path w="336" h="534">
                    <a:moveTo>
                      <a:pt x="106" y="466"/>
                    </a:moveTo>
                    <a:lnTo>
                      <a:pt x="196" y="454"/>
                    </a:lnTo>
                    <a:lnTo>
                      <a:pt x="220" y="470"/>
                    </a:lnTo>
                    <a:lnTo>
                      <a:pt x="234" y="512"/>
                    </a:lnTo>
                    <a:lnTo>
                      <a:pt x="286" y="534"/>
                    </a:lnTo>
                    <a:lnTo>
                      <a:pt x="288" y="532"/>
                    </a:lnTo>
                    <a:lnTo>
                      <a:pt x="236" y="510"/>
                    </a:lnTo>
                    <a:lnTo>
                      <a:pt x="226" y="474"/>
                    </a:lnTo>
                    <a:lnTo>
                      <a:pt x="232" y="480"/>
                    </a:lnTo>
                    <a:lnTo>
                      <a:pt x="290" y="348"/>
                    </a:lnTo>
                    <a:lnTo>
                      <a:pt x="324" y="288"/>
                    </a:lnTo>
                    <a:lnTo>
                      <a:pt x="334" y="210"/>
                    </a:lnTo>
                    <a:lnTo>
                      <a:pt x="334" y="208"/>
                    </a:lnTo>
                    <a:lnTo>
                      <a:pt x="334" y="208"/>
                    </a:lnTo>
                    <a:lnTo>
                      <a:pt x="336" y="200"/>
                    </a:lnTo>
                    <a:lnTo>
                      <a:pt x="262" y="0"/>
                    </a:lnTo>
                    <a:lnTo>
                      <a:pt x="260" y="6"/>
                    </a:lnTo>
                    <a:lnTo>
                      <a:pt x="330" y="202"/>
                    </a:lnTo>
                    <a:lnTo>
                      <a:pt x="320" y="286"/>
                    </a:lnTo>
                    <a:lnTo>
                      <a:pt x="288" y="346"/>
                    </a:lnTo>
                    <a:lnTo>
                      <a:pt x="232" y="470"/>
                    </a:lnTo>
                    <a:lnTo>
                      <a:pt x="198" y="450"/>
                    </a:lnTo>
                    <a:lnTo>
                      <a:pt x="106" y="462"/>
                    </a:lnTo>
                    <a:lnTo>
                      <a:pt x="0" y="424"/>
                    </a:lnTo>
                    <a:lnTo>
                      <a:pt x="0" y="430"/>
                    </a:lnTo>
                    <a:lnTo>
                      <a:pt x="106" y="46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5" name="Freeform 2950"/>
              <p:cNvSpPr>
                <a:spLocks/>
              </p:cNvSpPr>
              <p:nvPr/>
            </p:nvSpPr>
            <p:spPr bwMode="auto">
              <a:xfrm>
                <a:off x="6743755" y="2608704"/>
                <a:ext cx="424214" cy="437068"/>
              </a:xfrm>
              <a:custGeom>
                <a:avLst/>
                <a:gdLst/>
                <a:ahLst/>
                <a:cxnLst>
                  <a:cxn ang="0">
                    <a:pos x="328" y="0"/>
                  </a:cxn>
                  <a:cxn ang="0">
                    <a:pos x="312" y="22"/>
                  </a:cxn>
                  <a:cxn ang="0">
                    <a:pos x="272" y="22"/>
                  </a:cxn>
                  <a:cxn ang="0">
                    <a:pos x="230" y="84"/>
                  </a:cxn>
                  <a:cxn ang="0">
                    <a:pos x="202" y="154"/>
                  </a:cxn>
                  <a:cxn ang="0">
                    <a:pos x="172" y="130"/>
                  </a:cxn>
                  <a:cxn ang="0">
                    <a:pos x="142" y="294"/>
                  </a:cxn>
                  <a:cxn ang="0">
                    <a:pos x="72" y="336"/>
                  </a:cxn>
                  <a:cxn ang="0">
                    <a:pos x="0" y="304"/>
                  </a:cxn>
                  <a:cxn ang="0">
                    <a:pos x="0" y="304"/>
                  </a:cxn>
                  <a:cxn ang="0">
                    <a:pos x="0" y="306"/>
                  </a:cxn>
                  <a:cxn ang="0">
                    <a:pos x="72" y="340"/>
                  </a:cxn>
                  <a:cxn ang="0">
                    <a:pos x="144" y="296"/>
                  </a:cxn>
                  <a:cxn ang="0">
                    <a:pos x="174" y="132"/>
                  </a:cxn>
                  <a:cxn ang="0">
                    <a:pos x="202" y="158"/>
                  </a:cxn>
                  <a:cxn ang="0">
                    <a:pos x="232" y="84"/>
                  </a:cxn>
                  <a:cxn ang="0">
                    <a:pos x="274" y="26"/>
                  </a:cxn>
                  <a:cxn ang="0">
                    <a:pos x="312" y="26"/>
                  </a:cxn>
                  <a:cxn ang="0">
                    <a:pos x="330" y="0"/>
                  </a:cxn>
                  <a:cxn ang="0">
                    <a:pos x="330" y="0"/>
                  </a:cxn>
                  <a:cxn ang="0">
                    <a:pos x="328" y="0"/>
                  </a:cxn>
                </a:cxnLst>
                <a:rect l="0" t="0" r="r" b="b"/>
                <a:pathLst>
                  <a:path w="330" h="340">
                    <a:moveTo>
                      <a:pt x="328" y="0"/>
                    </a:moveTo>
                    <a:lnTo>
                      <a:pt x="312" y="22"/>
                    </a:lnTo>
                    <a:lnTo>
                      <a:pt x="272" y="22"/>
                    </a:lnTo>
                    <a:lnTo>
                      <a:pt x="230" y="84"/>
                    </a:lnTo>
                    <a:lnTo>
                      <a:pt x="202" y="154"/>
                    </a:lnTo>
                    <a:lnTo>
                      <a:pt x="172" y="130"/>
                    </a:lnTo>
                    <a:lnTo>
                      <a:pt x="142" y="294"/>
                    </a:lnTo>
                    <a:lnTo>
                      <a:pt x="72" y="336"/>
                    </a:lnTo>
                    <a:lnTo>
                      <a:pt x="0" y="304"/>
                    </a:lnTo>
                    <a:lnTo>
                      <a:pt x="0" y="304"/>
                    </a:lnTo>
                    <a:lnTo>
                      <a:pt x="0" y="306"/>
                    </a:lnTo>
                    <a:lnTo>
                      <a:pt x="72" y="340"/>
                    </a:lnTo>
                    <a:lnTo>
                      <a:pt x="144" y="296"/>
                    </a:lnTo>
                    <a:lnTo>
                      <a:pt x="174" y="132"/>
                    </a:lnTo>
                    <a:lnTo>
                      <a:pt x="202" y="158"/>
                    </a:lnTo>
                    <a:lnTo>
                      <a:pt x="232" y="84"/>
                    </a:lnTo>
                    <a:lnTo>
                      <a:pt x="274" y="26"/>
                    </a:lnTo>
                    <a:lnTo>
                      <a:pt x="312" y="26"/>
                    </a:lnTo>
                    <a:lnTo>
                      <a:pt x="330" y="0"/>
                    </a:lnTo>
                    <a:lnTo>
                      <a:pt x="330" y="0"/>
                    </a:lnTo>
                    <a:lnTo>
                      <a:pt x="328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6" name="Freeform 2951"/>
              <p:cNvSpPr>
                <a:spLocks/>
              </p:cNvSpPr>
              <p:nvPr/>
            </p:nvSpPr>
            <p:spPr bwMode="auto">
              <a:xfrm>
                <a:off x="6738613" y="2996924"/>
                <a:ext cx="5142" cy="5142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4" y="2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7" name="Freeform 2952"/>
              <p:cNvSpPr>
                <a:spLocks/>
              </p:cNvSpPr>
              <p:nvPr/>
            </p:nvSpPr>
            <p:spPr bwMode="auto">
              <a:xfrm>
                <a:off x="6365820" y="2858091"/>
                <a:ext cx="5142" cy="7713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4"/>
                  </a:cxn>
                  <a:cxn ang="0">
                    <a:pos x="4" y="6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4" h="6">
                    <a:moveTo>
                      <a:pt x="0" y="2"/>
                    </a:moveTo>
                    <a:lnTo>
                      <a:pt x="0" y="4"/>
                    </a:lnTo>
                    <a:lnTo>
                      <a:pt x="4" y="6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8" name="Freeform 2953"/>
              <p:cNvSpPr>
                <a:spLocks/>
              </p:cNvSpPr>
              <p:nvPr/>
            </p:nvSpPr>
            <p:spPr bwMode="auto">
              <a:xfrm>
                <a:off x="7497056" y="2724399"/>
                <a:ext cx="5142" cy="7713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4" y="6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39" name="Freeform 2954"/>
              <p:cNvSpPr>
                <a:spLocks/>
              </p:cNvSpPr>
              <p:nvPr/>
            </p:nvSpPr>
            <p:spPr bwMode="auto">
              <a:xfrm>
                <a:off x="7167969" y="2606133"/>
                <a:ext cx="331658" cy="151688"/>
              </a:xfrm>
              <a:custGeom>
                <a:avLst/>
                <a:gdLst/>
                <a:ahLst/>
                <a:cxnLst>
                  <a:cxn ang="0">
                    <a:pos x="54" y="106"/>
                  </a:cxn>
                  <a:cxn ang="0">
                    <a:pos x="64" y="26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60" y="28"/>
                  </a:cxn>
                  <a:cxn ang="0">
                    <a:pos x="50" y="108"/>
                  </a:cxn>
                  <a:cxn ang="0">
                    <a:pos x="172" y="118"/>
                  </a:cxn>
                  <a:cxn ang="0">
                    <a:pos x="256" y="98"/>
                  </a:cxn>
                  <a:cxn ang="0">
                    <a:pos x="258" y="94"/>
                  </a:cxn>
                  <a:cxn ang="0">
                    <a:pos x="176" y="116"/>
                  </a:cxn>
                  <a:cxn ang="0">
                    <a:pos x="54" y="106"/>
                  </a:cxn>
                </a:cxnLst>
                <a:rect l="0" t="0" r="r" b="b"/>
                <a:pathLst>
                  <a:path w="258" h="118">
                    <a:moveTo>
                      <a:pt x="54" y="106"/>
                    </a:moveTo>
                    <a:lnTo>
                      <a:pt x="64" y="26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60" y="28"/>
                    </a:lnTo>
                    <a:lnTo>
                      <a:pt x="50" y="108"/>
                    </a:lnTo>
                    <a:lnTo>
                      <a:pt x="172" y="118"/>
                    </a:lnTo>
                    <a:lnTo>
                      <a:pt x="256" y="98"/>
                    </a:lnTo>
                    <a:lnTo>
                      <a:pt x="258" y="94"/>
                    </a:lnTo>
                    <a:lnTo>
                      <a:pt x="176" y="116"/>
                    </a:lnTo>
                    <a:lnTo>
                      <a:pt x="54" y="10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0" name="Freeform 2955"/>
              <p:cNvSpPr>
                <a:spLocks/>
              </p:cNvSpPr>
              <p:nvPr/>
            </p:nvSpPr>
            <p:spPr bwMode="auto">
              <a:xfrm>
                <a:off x="6800317" y="2575282"/>
                <a:ext cx="367652" cy="92556"/>
              </a:xfrm>
              <a:custGeom>
                <a:avLst/>
                <a:gdLst/>
                <a:ahLst/>
                <a:cxnLst>
                  <a:cxn ang="0">
                    <a:pos x="18" y="56"/>
                  </a:cxn>
                  <a:cxn ang="0">
                    <a:pos x="106" y="26"/>
                  </a:cxn>
                  <a:cxn ang="0">
                    <a:pos x="132" y="72"/>
                  </a:cxn>
                  <a:cxn ang="0">
                    <a:pos x="238" y="16"/>
                  </a:cxn>
                  <a:cxn ang="0">
                    <a:pos x="284" y="26"/>
                  </a:cxn>
                  <a:cxn ang="0">
                    <a:pos x="286" y="24"/>
                  </a:cxn>
                  <a:cxn ang="0">
                    <a:pos x="234" y="12"/>
                  </a:cxn>
                  <a:cxn ang="0">
                    <a:pos x="132" y="68"/>
                  </a:cxn>
                  <a:cxn ang="0">
                    <a:pos x="108" y="26"/>
                  </a:cxn>
                  <a:cxn ang="0">
                    <a:pos x="108" y="26"/>
                  </a:cxn>
                  <a:cxn ang="0">
                    <a:pos x="106" y="24"/>
                  </a:cxn>
                  <a:cxn ang="0">
                    <a:pos x="20" y="5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18" y="56"/>
                  </a:cxn>
                </a:cxnLst>
                <a:rect l="0" t="0" r="r" b="b"/>
                <a:pathLst>
                  <a:path w="286" h="72">
                    <a:moveTo>
                      <a:pt x="18" y="56"/>
                    </a:moveTo>
                    <a:lnTo>
                      <a:pt x="106" y="26"/>
                    </a:lnTo>
                    <a:lnTo>
                      <a:pt x="132" y="72"/>
                    </a:lnTo>
                    <a:lnTo>
                      <a:pt x="238" y="16"/>
                    </a:lnTo>
                    <a:lnTo>
                      <a:pt x="284" y="26"/>
                    </a:lnTo>
                    <a:lnTo>
                      <a:pt x="286" y="24"/>
                    </a:lnTo>
                    <a:lnTo>
                      <a:pt x="234" y="12"/>
                    </a:lnTo>
                    <a:lnTo>
                      <a:pt x="132" y="68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6" y="24"/>
                    </a:lnTo>
                    <a:lnTo>
                      <a:pt x="20" y="5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18" y="5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1" name="Freeform 2956"/>
              <p:cNvSpPr>
                <a:spLocks/>
              </p:cNvSpPr>
              <p:nvPr/>
            </p:nvSpPr>
            <p:spPr bwMode="auto">
              <a:xfrm>
                <a:off x="7165398" y="2606133"/>
                <a:ext cx="5142" cy="2571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2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2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2" name="Rectangle 2957"/>
              <p:cNvSpPr>
                <a:spLocks noChangeArrowheads="1"/>
              </p:cNvSpPr>
              <p:nvPr/>
            </p:nvSpPr>
            <p:spPr bwMode="auto">
              <a:xfrm>
                <a:off x="6800317" y="2580423"/>
                <a:ext cx="1286" cy="2571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3" name="Freeform 2958"/>
              <p:cNvSpPr>
                <a:spLocks/>
              </p:cNvSpPr>
              <p:nvPr/>
            </p:nvSpPr>
            <p:spPr bwMode="auto">
              <a:xfrm>
                <a:off x="6792604" y="2122787"/>
                <a:ext cx="629893" cy="347084"/>
              </a:xfrm>
              <a:custGeom>
                <a:avLst/>
                <a:gdLst/>
                <a:ahLst/>
                <a:cxnLst>
                  <a:cxn ang="0">
                    <a:pos x="462" y="258"/>
                  </a:cxn>
                  <a:cxn ang="0">
                    <a:pos x="490" y="190"/>
                  </a:cxn>
                  <a:cxn ang="0">
                    <a:pos x="452" y="138"/>
                  </a:cxn>
                  <a:cxn ang="0">
                    <a:pos x="462" y="68"/>
                  </a:cxn>
                  <a:cxn ang="0">
                    <a:pos x="382" y="0"/>
                  </a:cxn>
                  <a:cxn ang="0">
                    <a:pos x="18" y="120"/>
                  </a:cxn>
                  <a:cxn ang="0">
                    <a:pos x="2" y="74"/>
                  </a:cxn>
                  <a:cxn ang="0">
                    <a:pos x="0" y="76"/>
                  </a:cxn>
                  <a:cxn ang="0">
                    <a:pos x="16" y="124"/>
                  </a:cxn>
                  <a:cxn ang="0">
                    <a:pos x="382" y="4"/>
                  </a:cxn>
                  <a:cxn ang="0">
                    <a:pos x="458" y="70"/>
                  </a:cxn>
                  <a:cxn ang="0">
                    <a:pos x="448" y="138"/>
                  </a:cxn>
                  <a:cxn ang="0">
                    <a:pos x="488" y="190"/>
                  </a:cxn>
                  <a:cxn ang="0">
                    <a:pos x="458" y="256"/>
                  </a:cxn>
                  <a:cxn ang="0">
                    <a:pos x="428" y="266"/>
                  </a:cxn>
                  <a:cxn ang="0">
                    <a:pos x="430" y="270"/>
                  </a:cxn>
                  <a:cxn ang="0">
                    <a:pos x="462" y="258"/>
                  </a:cxn>
                </a:cxnLst>
                <a:rect l="0" t="0" r="r" b="b"/>
                <a:pathLst>
                  <a:path w="490" h="270">
                    <a:moveTo>
                      <a:pt x="462" y="258"/>
                    </a:moveTo>
                    <a:lnTo>
                      <a:pt x="490" y="190"/>
                    </a:lnTo>
                    <a:lnTo>
                      <a:pt x="452" y="138"/>
                    </a:lnTo>
                    <a:lnTo>
                      <a:pt x="462" y="68"/>
                    </a:lnTo>
                    <a:lnTo>
                      <a:pt x="382" y="0"/>
                    </a:lnTo>
                    <a:lnTo>
                      <a:pt x="18" y="120"/>
                    </a:lnTo>
                    <a:lnTo>
                      <a:pt x="2" y="74"/>
                    </a:lnTo>
                    <a:lnTo>
                      <a:pt x="0" y="76"/>
                    </a:lnTo>
                    <a:lnTo>
                      <a:pt x="16" y="124"/>
                    </a:lnTo>
                    <a:lnTo>
                      <a:pt x="382" y="4"/>
                    </a:lnTo>
                    <a:lnTo>
                      <a:pt x="458" y="70"/>
                    </a:lnTo>
                    <a:lnTo>
                      <a:pt x="448" y="138"/>
                    </a:lnTo>
                    <a:lnTo>
                      <a:pt x="488" y="190"/>
                    </a:lnTo>
                    <a:lnTo>
                      <a:pt x="458" y="256"/>
                    </a:lnTo>
                    <a:lnTo>
                      <a:pt x="428" y="266"/>
                    </a:lnTo>
                    <a:lnTo>
                      <a:pt x="430" y="270"/>
                    </a:lnTo>
                    <a:lnTo>
                      <a:pt x="462" y="25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4" name="Freeform 2959"/>
              <p:cNvSpPr>
                <a:spLocks/>
              </p:cNvSpPr>
              <p:nvPr/>
            </p:nvSpPr>
            <p:spPr bwMode="auto">
              <a:xfrm>
                <a:off x="6934009" y="2464729"/>
                <a:ext cx="411359" cy="143975"/>
              </a:xfrm>
              <a:custGeom>
                <a:avLst/>
                <a:gdLst/>
                <a:ahLst/>
                <a:cxnLst>
                  <a:cxn ang="0">
                    <a:pos x="4" y="112"/>
                  </a:cxn>
                  <a:cxn ang="0">
                    <a:pos x="320" y="4"/>
                  </a:cxn>
                  <a:cxn ang="0">
                    <a:pos x="318" y="0"/>
                  </a:cxn>
                  <a:cxn ang="0">
                    <a:pos x="0" y="110"/>
                  </a:cxn>
                  <a:cxn ang="0">
                    <a:pos x="2" y="110"/>
                  </a:cxn>
                  <a:cxn ang="0">
                    <a:pos x="2" y="110"/>
                  </a:cxn>
                  <a:cxn ang="0">
                    <a:pos x="4" y="112"/>
                  </a:cxn>
                </a:cxnLst>
                <a:rect l="0" t="0" r="r" b="b"/>
                <a:pathLst>
                  <a:path w="320" h="112">
                    <a:moveTo>
                      <a:pt x="4" y="112"/>
                    </a:moveTo>
                    <a:lnTo>
                      <a:pt x="320" y="4"/>
                    </a:lnTo>
                    <a:lnTo>
                      <a:pt x="318" y="0"/>
                    </a:lnTo>
                    <a:lnTo>
                      <a:pt x="0" y="110"/>
                    </a:lnTo>
                    <a:lnTo>
                      <a:pt x="2" y="110"/>
                    </a:lnTo>
                    <a:lnTo>
                      <a:pt x="2" y="110"/>
                    </a:lnTo>
                    <a:lnTo>
                      <a:pt x="4" y="11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5" name="Freeform 2960"/>
              <p:cNvSpPr>
                <a:spLocks/>
              </p:cNvSpPr>
              <p:nvPr/>
            </p:nvSpPr>
            <p:spPr bwMode="auto">
              <a:xfrm>
                <a:off x="6936580" y="2606133"/>
                <a:ext cx="2571" cy="2571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6" name="Rectangle 2961"/>
              <p:cNvSpPr>
                <a:spLocks noChangeArrowheads="1"/>
              </p:cNvSpPr>
              <p:nvPr/>
            </p:nvSpPr>
            <p:spPr bwMode="auto">
              <a:xfrm>
                <a:off x="7507340" y="2639556"/>
                <a:ext cx="2571" cy="2571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7" name="Rectangle 2962"/>
              <p:cNvSpPr>
                <a:spLocks noChangeArrowheads="1"/>
              </p:cNvSpPr>
              <p:nvPr/>
            </p:nvSpPr>
            <p:spPr bwMode="auto">
              <a:xfrm>
                <a:off x="7342796" y="2464729"/>
                <a:ext cx="1286" cy="1286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8" name="Freeform 2963"/>
              <p:cNvSpPr>
                <a:spLocks/>
              </p:cNvSpPr>
              <p:nvPr/>
            </p:nvSpPr>
            <p:spPr bwMode="auto">
              <a:xfrm>
                <a:off x="7345367" y="2469871"/>
                <a:ext cx="161972" cy="2082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58" y="162"/>
                  </a:cxn>
                  <a:cxn ang="0">
                    <a:pos x="126" y="134"/>
                  </a:cxn>
                  <a:cxn ang="0">
                    <a:pos x="126" y="132"/>
                  </a:cxn>
                  <a:cxn ang="0">
                    <a:pos x="62" y="158"/>
                  </a:cxn>
                  <a:cxn ang="0">
                    <a:pos x="0" y="0"/>
                  </a:cxn>
                </a:cxnLst>
                <a:rect l="0" t="0" r="r" b="b"/>
                <a:pathLst>
                  <a:path w="126" h="162">
                    <a:moveTo>
                      <a:pt x="0" y="0"/>
                    </a:moveTo>
                    <a:lnTo>
                      <a:pt x="0" y="0"/>
                    </a:lnTo>
                    <a:lnTo>
                      <a:pt x="58" y="162"/>
                    </a:lnTo>
                    <a:lnTo>
                      <a:pt x="126" y="134"/>
                    </a:lnTo>
                    <a:lnTo>
                      <a:pt x="126" y="132"/>
                    </a:lnTo>
                    <a:lnTo>
                      <a:pt x="62" y="15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49" name="Freeform 2964"/>
              <p:cNvSpPr>
                <a:spLocks/>
              </p:cNvSpPr>
              <p:nvPr/>
            </p:nvSpPr>
            <p:spPr bwMode="auto">
              <a:xfrm>
                <a:off x="7342796" y="2464729"/>
                <a:ext cx="2571" cy="5142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4"/>
                  </a:cxn>
                  <a:cxn ang="0">
                    <a:pos x="2" y="4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0" name="Freeform 2965"/>
              <p:cNvSpPr>
                <a:spLocks/>
              </p:cNvSpPr>
              <p:nvPr/>
            </p:nvSpPr>
            <p:spPr bwMode="auto">
              <a:xfrm>
                <a:off x="7774723" y="1999380"/>
                <a:ext cx="2571" cy="5142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4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1" name="Freeform 2966"/>
              <p:cNvSpPr>
                <a:spLocks/>
              </p:cNvSpPr>
              <p:nvPr/>
            </p:nvSpPr>
            <p:spPr bwMode="auto">
              <a:xfrm>
                <a:off x="7695022" y="2148497"/>
                <a:ext cx="5142" cy="7713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2" y="6"/>
                  </a:cxn>
                  <a:cxn ang="0">
                    <a:pos x="4" y="4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6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2" y="6"/>
                    </a:lnTo>
                    <a:lnTo>
                      <a:pt x="4" y="4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2" name="Freeform 2967"/>
              <p:cNvSpPr>
                <a:spLocks/>
              </p:cNvSpPr>
              <p:nvPr/>
            </p:nvSpPr>
            <p:spPr bwMode="auto">
              <a:xfrm>
                <a:off x="7484201" y="2035373"/>
                <a:ext cx="79701" cy="17482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" y="84"/>
                  </a:cxn>
                  <a:cxn ang="0">
                    <a:pos x="62" y="136"/>
                  </a:cxn>
                  <a:cxn ang="0">
                    <a:pos x="12" y="82"/>
                  </a:cxn>
                  <a:cxn ang="0">
                    <a:pos x="0" y="0"/>
                  </a:cxn>
                </a:cxnLst>
                <a:rect l="0" t="0" r="r" b="b"/>
                <a:pathLst>
                  <a:path w="62" h="136">
                    <a:moveTo>
                      <a:pt x="0" y="0"/>
                    </a:moveTo>
                    <a:lnTo>
                      <a:pt x="10" y="84"/>
                    </a:lnTo>
                    <a:lnTo>
                      <a:pt x="62" y="136"/>
                    </a:lnTo>
                    <a:lnTo>
                      <a:pt x="12" y="8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3" name="Freeform 2968"/>
              <p:cNvSpPr>
                <a:spLocks/>
              </p:cNvSpPr>
              <p:nvPr/>
            </p:nvSpPr>
            <p:spPr bwMode="auto">
              <a:xfrm>
                <a:off x="7353080" y="1575166"/>
                <a:ext cx="131121" cy="460207"/>
              </a:xfrm>
              <a:custGeom>
                <a:avLst/>
                <a:gdLst/>
                <a:ahLst/>
                <a:cxnLst>
                  <a:cxn ang="0">
                    <a:pos x="40" y="1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38" y="132"/>
                  </a:cxn>
                  <a:cxn ang="0">
                    <a:pos x="102" y="358"/>
                  </a:cxn>
                  <a:cxn ang="0">
                    <a:pos x="80" y="276"/>
                  </a:cxn>
                  <a:cxn ang="0">
                    <a:pos x="40" y="132"/>
                  </a:cxn>
                </a:cxnLst>
                <a:rect l="0" t="0" r="r" b="b"/>
                <a:pathLst>
                  <a:path w="102" h="358">
                    <a:moveTo>
                      <a:pt x="40" y="13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38" y="132"/>
                    </a:lnTo>
                    <a:lnTo>
                      <a:pt x="102" y="358"/>
                    </a:lnTo>
                    <a:lnTo>
                      <a:pt x="80" y="276"/>
                    </a:lnTo>
                    <a:lnTo>
                      <a:pt x="40" y="13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4" name="Freeform 2969"/>
              <p:cNvSpPr>
                <a:spLocks/>
              </p:cNvSpPr>
              <p:nvPr/>
            </p:nvSpPr>
            <p:spPr bwMode="auto">
              <a:xfrm>
                <a:off x="7659028" y="1945389"/>
                <a:ext cx="115695" cy="20825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28" y="162"/>
                  </a:cxn>
                  <a:cxn ang="0">
                    <a:pos x="30" y="158"/>
                  </a:cxn>
                  <a:cxn ang="0">
                    <a:pos x="4" y="20"/>
                  </a:cxn>
                  <a:cxn ang="0">
                    <a:pos x="54" y="2"/>
                  </a:cxn>
                  <a:cxn ang="0">
                    <a:pos x="90" y="42"/>
                  </a:cxn>
                  <a:cxn ang="0">
                    <a:pos x="90" y="42"/>
                  </a:cxn>
                  <a:cxn ang="0">
                    <a:pos x="54" y="0"/>
                  </a:cxn>
                  <a:cxn ang="0">
                    <a:pos x="0" y="20"/>
                  </a:cxn>
                </a:cxnLst>
                <a:rect l="0" t="0" r="r" b="b"/>
                <a:pathLst>
                  <a:path w="90" h="162">
                    <a:moveTo>
                      <a:pt x="0" y="20"/>
                    </a:moveTo>
                    <a:lnTo>
                      <a:pt x="28" y="162"/>
                    </a:lnTo>
                    <a:lnTo>
                      <a:pt x="30" y="158"/>
                    </a:lnTo>
                    <a:lnTo>
                      <a:pt x="4" y="20"/>
                    </a:lnTo>
                    <a:lnTo>
                      <a:pt x="54" y="2"/>
                    </a:lnTo>
                    <a:lnTo>
                      <a:pt x="90" y="42"/>
                    </a:lnTo>
                    <a:lnTo>
                      <a:pt x="90" y="42"/>
                    </a:lnTo>
                    <a:lnTo>
                      <a:pt x="54" y="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5" name="Rectangle 2970"/>
              <p:cNvSpPr>
                <a:spLocks noChangeArrowheads="1"/>
              </p:cNvSpPr>
              <p:nvPr/>
            </p:nvSpPr>
            <p:spPr bwMode="auto">
              <a:xfrm>
                <a:off x="7697593" y="2156210"/>
                <a:ext cx="1286" cy="1286"/>
              </a:xfrm>
              <a:prstGeom prst="rect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6" name="Freeform 2971"/>
              <p:cNvSpPr>
                <a:spLocks/>
              </p:cNvSpPr>
              <p:nvPr/>
            </p:nvSpPr>
            <p:spPr bwMode="auto">
              <a:xfrm>
                <a:off x="7525337" y="1472326"/>
                <a:ext cx="213392" cy="31880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126" y="220"/>
                  </a:cxn>
                  <a:cxn ang="0">
                    <a:pos x="166" y="248"/>
                  </a:cxn>
                  <a:cxn ang="0">
                    <a:pos x="166" y="246"/>
                  </a:cxn>
                  <a:cxn ang="0">
                    <a:pos x="126" y="218"/>
                  </a:cxn>
                  <a:cxn ang="0">
                    <a:pos x="0" y="0"/>
                  </a:cxn>
                </a:cxnLst>
                <a:rect l="0" t="0" r="r" b="b"/>
                <a:pathLst>
                  <a:path w="166" h="248">
                    <a:moveTo>
                      <a:pt x="0" y="0"/>
                    </a:moveTo>
                    <a:lnTo>
                      <a:pt x="0" y="2"/>
                    </a:lnTo>
                    <a:lnTo>
                      <a:pt x="126" y="220"/>
                    </a:lnTo>
                    <a:lnTo>
                      <a:pt x="166" y="248"/>
                    </a:lnTo>
                    <a:lnTo>
                      <a:pt x="166" y="246"/>
                    </a:lnTo>
                    <a:lnTo>
                      <a:pt x="126" y="21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7" name="Freeform 2972"/>
              <p:cNvSpPr>
                <a:spLocks/>
              </p:cNvSpPr>
              <p:nvPr/>
            </p:nvSpPr>
            <p:spPr bwMode="auto">
              <a:xfrm>
                <a:off x="2802426" y="1338635"/>
                <a:ext cx="82272" cy="439639"/>
              </a:xfrm>
              <a:custGeom>
                <a:avLst/>
                <a:gdLst/>
                <a:ahLst/>
                <a:cxnLst>
                  <a:cxn ang="0">
                    <a:pos x="0" y="342"/>
                  </a:cxn>
                  <a:cxn ang="0">
                    <a:pos x="64" y="0"/>
                  </a:cxn>
                  <a:cxn ang="0">
                    <a:pos x="60" y="0"/>
                  </a:cxn>
                  <a:cxn ang="0">
                    <a:pos x="0" y="342"/>
                  </a:cxn>
                </a:cxnLst>
                <a:rect l="0" t="0" r="r" b="b"/>
                <a:pathLst>
                  <a:path w="64" h="342">
                    <a:moveTo>
                      <a:pt x="0" y="342"/>
                    </a:moveTo>
                    <a:lnTo>
                      <a:pt x="64" y="0"/>
                    </a:lnTo>
                    <a:lnTo>
                      <a:pt x="60" y="0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8" name="Freeform 2973"/>
              <p:cNvSpPr>
                <a:spLocks/>
              </p:cNvSpPr>
              <p:nvPr/>
            </p:nvSpPr>
            <p:spPr bwMode="auto">
              <a:xfrm>
                <a:off x="1964283" y="1611160"/>
                <a:ext cx="876708" cy="835572"/>
              </a:xfrm>
              <a:custGeom>
                <a:avLst/>
                <a:gdLst/>
                <a:ahLst/>
                <a:cxnLst>
                  <a:cxn ang="0">
                    <a:pos x="528" y="128"/>
                  </a:cxn>
                  <a:cxn ang="0">
                    <a:pos x="412" y="144"/>
                  </a:cxn>
                  <a:cxn ang="0">
                    <a:pos x="232" y="112"/>
                  </a:cxn>
                  <a:cxn ang="0">
                    <a:pos x="224" y="26"/>
                  </a:cxn>
                  <a:cxn ang="0">
                    <a:pos x="128" y="0"/>
                  </a:cxn>
                  <a:cxn ang="0">
                    <a:pos x="128" y="20"/>
                  </a:cxn>
                  <a:cxn ang="0">
                    <a:pos x="0" y="410"/>
                  </a:cxn>
                  <a:cxn ang="0">
                    <a:pos x="6" y="510"/>
                  </a:cxn>
                  <a:cxn ang="0">
                    <a:pos x="344" y="602"/>
                  </a:cxn>
                  <a:cxn ang="0">
                    <a:pos x="572" y="650"/>
                  </a:cxn>
                  <a:cxn ang="0">
                    <a:pos x="622" y="386"/>
                  </a:cxn>
                  <a:cxn ang="0">
                    <a:pos x="614" y="360"/>
                  </a:cxn>
                  <a:cxn ang="0">
                    <a:pos x="682" y="224"/>
                  </a:cxn>
                  <a:cxn ang="0">
                    <a:pos x="662" y="166"/>
                  </a:cxn>
                  <a:cxn ang="0">
                    <a:pos x="528" y="128"/>
                  </a:cxn>
                </a:cxnLst>
                <a:rect l="0" t="0" r="r" b="b"/>
                <a:pathLst>
                  <a:path w="682" h="650">
                    <a:moveTo>
                      <a:pt x="528" y="128"/>
                    </a:moveTo>
                    <a:lnTo>
                      <a:pt x="412" y="144"/>
                    </a:lnTo>
                    <a:lnTo>
                      <a:pt x="232" y="112"/>
                    </a:lnTo>
                    <a:lnTo>
                      <a:pt x="224" y="26"/>
                    </a:lnTo>
                    <a:lnTo>
                      <a:pt x="128" y="0"/>
                    </a:lnTo>
                    <a:lnTo>
                      <a:pt x="128" y="20"/>
                    </a:lnTo>
                    <a:lnTo>
                      <a:pt x="0" y="410"/>
                    </a:lnTo>
                    <a:lnTo>
                      <a:pt x="6" y="510"/>
                    </a:lnTo>
                    <a:lnTo>
                      <a:pt x="344" y="602"/>
                    </a:lnTo>
                    <a:lnTo>
                      <a:pt x="572" y="650"/>
                    </a:lnTo>
                    <a:lnTo>
                      <a:pt x="622" y="386"/>
                    </a:lnTo>
                    <a:lnTo>
                      <a:pt x="614" y="360"/>
                    </a:lnTo>
                    <a:lnTo>
                      <a:pt x="682" y="224"/>
                    </a:lnTo>
                    <a:lnTo>
                      <a:pt x="662" y="166"/>
                    </a:lnTo>
                    <a:lnTo>
                      <a:pt x="528" y="12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59" name="Freeform 2974"/>
              <p:cNvSpPr>
                <a:spLocks/>
              </p:cNvSpPr>
              <p:nvPr/>
            </p:nvSpPr>
            <p:spPr bwMode="auto">
              <a:xfrm>
                <a:off x="2128826" y="1186946"/>
                <a:ext cx="755871" cy="624751"/>
              </a:xfrm>
              <a:custGeom>
                <a:avLst/>
                <a:gdLst/>
                <a:ahLst/>
                <a:cxnLst>
                  <a:cxn ang="0">
                    <a:pos x="198" y="12"/>
                  </a:cxn>
                  <a:cxn ang="0">
                    <a:pos x="118" y="92"/>
                  </a:cxn>
                  <a:cxn ang="0">
                    <a:pos x="0" y="0"/>
                  </a:cxn>
                  <a:cxn ang="0">
                    <a:pos x="0" y="324"/>
                  </a:cxn>
                  <a:cxn ang="0">
                    <a:pos x="100" y="352"/>
                  </a:cxn>
                  <a:cxn ang="0">
                    <a:pos x="110" y="436"/>
                  </a:cxn>
                  <a:cxn ang="0">
                    <a:pos x="284" y="468"/>
                  </a:cxn>
                  <a:cxn ang="0">
                    <a:pos x="400" y="452"/>
                  </a:cxn>
                  <a:cxn ang="0">
                    <a:pos x="532" y="486"/>
                  </a:cxn>
                  <a:cxn ang="0">
                    <a:pos x="524" y="460"/>
                  </a:cxn>
                  <a:cxn ang="0">
                    <a:pos x="584" y="118"/>
                  </a:cxn>
                  <a:cxn ang="0">
                    <a:pos x="588" y="118"/>
                  </a:cxn>
                  <a:cxn ang="0">
                    <a:pos x="588" y="116"/>
                  </a:cxn>
                  <a:cxn ang="0">
                    <a:pos x="198" y="12"/>
                  </a:cxn>
                </a:cxnLst>
                <a:rect l="0" t="0" r="r" b="b"/>
                <a:pathLst>
                  <a:path w="588" h="486">
                    <a:moveTo>
                      <a:pt x="198" y="12"/>
                    </a:moveTo>
                    <a:lnTo>
                      <a:pt x="118" y="92"/>
                    </a:lnTo>
                    <a:lnTo>
                      <a:pt x="0" y="0"/>
                    </a:lnTo>
                    <a:lnTo>
                      <a:pt x="0" y="324"/>
                    </a:lnTo>
                    <a:lnTo>
                      <a:pt x="100" y="352"/>
                    </a:lnTo>
                    <a:lnTo>
                      <a:pt x="110" y="436"/>
                    </a:lnTo>
                    <a:lnTo>
                      <a:pt x="284" y="468"/>
                    </a:lnTo>
                    <a:lnTo>
                      <a:pt x="400" y="452"/>
                    </a:lnTo>
                    <a:lnTo>
                      <a:pt x="532" y="486"/>
                    </a:lnTo>
                    <a:lnTo>
                      <a:pt x="524" y="460"/>
                    </a:lnTo>
                    <a:lnTo>
                      <a:pt x="584" y="118"/>
                    </a:lnTo>
                    <a:lnTo>
                      <a:pt x="588" y="118"/>
                    </a:lnTo>
                    <a:lnTo>
                      <a:pt x="588" y="116"/>
                    </a:lnTo>
                    <a:lnTo>
                      <a:pt x="198" y="1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0" name="Freeform 2975"/>
              <p:cNvSpPr>
                <a:spLocks/>
              </p:cNvSpPr>
              <p:nvPr/>
            </p:nvSpPr>
            <p:spPr bwMode="auto">
              <a:xfrm>
                <a:off x="2802426" y="1778274"/>
                <a:ext cx="10284" cy="33423"/>
              </a:xfrm>
              <a:custGeom>
                <a:avLst/>
                <a:gdLst/>
                <a:ahLst/>
                <a:cxnLst>
                  <a:cxn ang="0">
                    <a:pos x="8" y="26"/>
                  </a:cxn>
                  <a:cxn ang="0">
                    <a:pos x="0" y="0"/>
                  </a:cxn>
                  <a:cxn ang="0">
                    <a:pos x="8" y="26"/>
                  </a:cxn>
                  <a:cxn ang="0">
                    <a:pos x="8" y="26"/>
                  </a:cxn>
                </a:cxnLst>
                <a:rect l="0" t="0" r="r" b="b"/>
                <a:pathLst>
                  <a:path w="8" h="26">
                    <a:moveTo>
                      <a:pt x="8" y="26"/>
                    </a:moveTo>
                    <a:lnTo>
                      <a:pt x="0" y="0"/>
                    </a:lnTo>
                    <a:lnTo>
                      <a:pt x="8" y="26"/>
                    </a:lnTo>
                    <a:lnTo>
                      <a:pt x="8" y="2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1" name="Freeform 2979"/>
              <p:cNvSpPr>
                <a:spLocks/>
              </p:cNvSpPr>
              <p:nvPr/>
            </p:nvSpPr>
            <p:spPr bwMode="auto">
              <a:xfrm>
                <a:off x="3036386" y="1783416"/>
                <a:ext cx="233960" cy="380507"/>
              </a:xfrm>
              <a:custGeom>
                <a:avLst/>
                <a:gdLst/>
                <a:ahLst/>
                <a:cxnLst>
                  <a:cxn ang="0">
                    <a:pos x="50" y="126"/>
                  </a:cxn>
                  <a:cxn ang="0">
                    <a:pos x="40" y="188"/>
                  </a:cxn>
                  <a:cxn ang="0">
                    <a:pos x="112" y="296"/>
                  </a:cxn>
                  <a:cxn ang="0">
                    <a:pos x="182" y="284"/>
                  </a:cxn>
                  <a:cxn ang="0">
                    <a:pos x="118" y="292"/>
                  </a:cxn>
                  <a:cxn ang="0">
                    <a:pos x="48" y="188"/>
                  </a:cxn>
                  <a:cxn ang="0">
                    <a:pos x="56" y="118"/>
                  </a:cxn>
                  <a:cxn ang="0">
                    <a:pos x="8" y="130"/>
                  </a:cxn>
                  <a:cxn ang="0">
                    <a:pos x="38" y="0"/>
                  </a:cxn>
                  <a:cxn ang="0">
                    <a:pos x="0" y="138"/>
                  </a:cxn>
                  <a:cxn ang="0">
                    <a:pos x="50" y="126"/>
                  </a:cxn>
                </a:cxnLst>
                <a:rect l="0" t="0" r="r" b="b"/>
                <a:pathLst>
                  <a:path w="182" h="296">
                    <a:moveTo>
                      <a:pt x="50" y="126"/>
                    </a:moveTo>
                    <a:lnTo>
                      <a:pt x="40" y="188"/>
                    </a:lnTo>
                    <a:lnTo>
                      <a:pt x="112" y="296"/>
                    </a:lnTo>
                    <a:lnTo>
                      <a:pt x="182" y="284"/>
                    </a:lnTo>
                    <a:lnTo>
                      <a:pt x="118" y="292"/>
                    </a:lnTo>
                    <a:lnTo>
                      <a:pt x="48" y="188"/>
                    </a:lnTo>
                    <a:lnTo>
                      <a:pt x="56" y="118"/>
                    </a:lnTo>
                    <a:lnTo>
                      <a:pt x="8" y="130"/>
                    </a:lnTo>
                    <a:lnTo>
                      <a:pt x="38" y="0"/>
                    </a:lnTo>
                    <a:lnTo>
                      <a:pt x="0" y="138"/>
                    </a:lnTo>
                    <a:lnTo>
                      <a:pt x="50" y="12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2" name="Freeform 2980"/>
              <p:cNvSpPr>
                <a:spLocks/>
              </p:cNvSpPr>
              <p:nvPr/>
            </p:nvSpPr>
            <p:spPr bwMode="auto">
              <a:xfrm>
                <a:off x="3180362" y="2133071"/>
                <a:ext cx="167114" cy="30852"/>
              </a:xfrm>
              <a:custGeom>
                <a:avLst/>
                <a:gdLst/>
                <a:ahLst/>
                <a:cxnLst>
                  <a:cxn ang="0">
                    <a:pos x="92" y="14"/>
                  </a:cxn>
                  <a:cxn ang="0">
                    <a:pos x="130" y="0"/>
                  </a:cxn>
                  <a:cxn ang="0">
                    <a:pos x="98" y="6"/>
                  </a:cxn>
                  <a:cxn ang="0">
                    <a:pos x="90" y="8"/>
                  </a:cxn>
                  <a:cxn ang="0">
                    <a:pos x="70" y="12"/>
                  </a:cxn>
                  <a:cxn ang="0">
                    <a:pos x="0" y="24"/>
                  </a:cxn>
                  <a:cxn ang="0">
                    <a:pos x="92" y="14"/>
                  </a:cxn>
                </a:cxnLst>
                <a:rect l="0" t="0" r="r" b="b"/>
                <a:pathLst>
                  <a:path w="130" h="24">
                    <a:moveTo>
                      <a:pt x="92" y="14"/>
                    </a:moveTo>
                    <a:lnTo>
                      <a:pt x="130" y="0"/>
                    </a:lnTo>
                    <a:lnTo>
                      <a:pt x="98" y="6"/>
                    </a:lnTo>
                    <a:lnTo>
                      <a:pt x="90" y="8"/>
                    </a:lnTo>
                    <a:lnTo>
                      <a:pt x="70" y="12"/>
                    </a:lnTo>
                    <a:lnTo>
                      <a:pt x="0" y="24"/>
                    </a:lnTo>
                    <a:lnTo>
                      <a:pt x="92" y="1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3" name="Freeform 2981"/>
              <p:cNvSpPr>
                <a:spLocks/>
              </p:cNvSpPr>
              <p:nvPr/>
            </p:nvSpPr>
            <p:spPr bwMode="auto">
              <a:xfrm>
                <a:off x="3388612" y="1549456"/>
                <a:ext cx="779010" cy="611896"/>
              </a:xfrm>
              <a:custGeom>
                <a:avLst/>
                <a:gdLst/>
                <a:ahLst/>
                <a:cxnLst>
                  <a:cxn ang="0">
                    <a:pos x="600" y="452"/>
                  </a:cxn>
                  <a:cxn ang="0">
                    <a:pos x="6" y="414"/>
                  </a:cxn>
                  <a:cxn ang="0">
                    <a:pos x="0" y="476"/>
                  </a:cxn>
                  <a:cxn ang="0">
                    <a:pos x="12" y="420"/>
                  </a:cxn>
                  <a:cxn ang="0">
                    <a:pos x="606" y="460"/>
                  </a:cxn>
                  <a:cxn ang="0">
                    <a:pos x="604" y="0"/>
                  </a:cxn>
                  <a:cxn ang="0">
                    <a:pos x="600" y="452"/>
                  </a:cxn>
                </a:cxnLst>
                <a:rect l="0" t="0" r="r" b="b"/>
                <a:pathLst>
                  <a:path w="606" h="476">
                    <a:moveTo>
                      <a:pt x="600" y="452"/>
                    </a:moveTo>
                    <a:lnTo>
                      <a:pt x="6" y="414"/>
                    </a:lnTo>
                    <a:lnTo>
                      <a:pt x="0" y="476"/>
                    </a:lnTo>
                    <a:lnTo>
                      <a:pt x="12" y="420"/>
                    </a:lnTo>
                    <a:lnTo>
                      <a:pt x="606" y="460"/>
                    </a:lnTo>
                    <a:lnTo>
                      <a:pt x="604" y="0"/>
                    </a:lnTo>
                    <a:lnTo>
                      <a:pt x="600" y="45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4" name="Freeform 2982"/>
              <p:cNvSpPr>
                <a:spLocks/>
              </p:cNvSpPr>
              <p:nvPr/>
            </p:nvSpPr>
            <p:spPr bwMode="auto">
              <a:xfrm>
                <a:off x="4165051" y="1549456"/>
                <a:ext cx="789294" cy="591328"/>
              </a:xfrm>
              <a:custGeom>
                <a:avLst/>
                <a:gdLst/>
                <a:ahLst/>
                <a:cxnLst>
                  <a:cxn ang="0">
                    <a:pos x="612" y="358"/>
                  </a:cxn>
                  <a:cxn ang="0">
                    <a:pos x="614" y="354"/>
                  </a:cxn>
                  <a:cxn ang="0">
                    <a:pos x="2" y="356"/>
                  </a:cxn>
                  <a:cxn ang="0">
                    <a:pos x="6" y="2"/>
                  </a:cxn>
                  <a:cxn ang="0">
                    <a:pos x="0" y="0"/>
                  </a:cxn>
                  <a:cxn ang="0">
                    <a:pos x="2" y="460"/>
                  </a:cxn>
                  <a:cxn ang="0">
                    <a:pos x="2" y="360"/>
                  </a:cxn>
                  <a:cxn ang="0">
                    <a:pos x="612" y="358"/>
                  </a:cxn>
                </a:cxnLst>
                <a:rect l="0" t="0" r="r" b="b"/>
                <a:pathLst>
                  <a:path w="614" h="460">
                    <a:moveTo>
                      <a:pt x="612" y="358"/>
                    </a:moveTo>
                    <a:lnTo>
                      <a:pt x="614" y="354"/>
                    </a:lnTo>
                    <a:lnTo>
                      <a:pt x="2" y="356"/>
                    </a:lnTo>
                    <a:lnTo>
                      <a:pt x="6" y="2"/>
                    </a:lnTo>
                    <a:lnTo>
                      <a:pt x="0" y="0"/>
                    </a:lnTo>
                    <a:lnTo>
                      <a:pt x="2" y="460"/>
                    </a:lnTo>
                    <a:lnTo>
                      <a:pt x="2" y="360"/>
                    </a:lnTo>
                    <a:lnTo>
                      <a:pt x="612" y="35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5" name="Freeform 2983"/>
              <p:cNvSpPr>
                <a:spLocks/>
              </p:cNvSpPr>
              <p:nvPr/>
            </p:nvSpPr>
            <p:spPr bwMode="auto">
              <a:xfrm>
                <a:off x="3306340" y="2127929"/>
                <a:ext cx="79701" cy="53991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2" y="4"/>
                  </a:cxn>
                  <a:cxn ang="0">
                    <a:pos x="60" y="42"/>
                  </a:cxn>
                  <a:cxn ang="0">
                    <a:pos x="62" y="34"/>
                  </a:cxn>
                  <a:cxn ang="0">
                    <a:pos x="36" y="0"/>
                  </a:cxn>
                  <a:cxn ang="0">
                    <a:pos x="0" y="10"/>
                  </a:cxn>
                </a:cxnLst>
                <a:rect l="0" t="0" r="r" b="b"/>
                <a:pathLst>
                  <a:path w="62" h="42">
                    <a:moveTo>
                      <a:pt x="0" y="10"/>
                    </a:moveTo>
                    <a:lnTo>
                      <a:pt x="32" y="4"/>
                    </a:lnTo>
                    <a:lnTo>
                      <a:pt x="60" y="42"/>
                    </a:lnTo>
                    <a:lnTo>
                      <a:pt x="62" y="34"/>
                    </a:lnTo>
                    <a:lnTo>
                      <a:pt x="36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6" name="Freeform 2984"/>
              <p:cNvSpPr>
                <a:spLocks/>
              </p:cNvSpPr>
              <p:nvPr/>
            </p:nvSpPr>
            <p:spPr bwMode="auto">
              <a:xfrm>
                <a:off x="3386041" y="2161352"/>
                <a:ext cx="2571" cy="12855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2" y="0"/>
                  </a:cxn>
                  <a:cxn ang="0">
                    <a:pos x="0" y="8"/>
                  </a:cxn>
                  <a:cxn ang="0">
                    <a:pos x="0" y="10"/>
                  </a:cxn>
                </a:cxnLst>
                <a:rect l="0" t="0" r="r" b="b"/>
                <a:pathLst>
                  <a:path w="2" h="10">
                    <a:moveTo>
                      <a:pt x="0" y="1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7" name="Freeform 2985"/>
              <p:cNvSpPr>
                <a:spLocks/>
              </p:cNvSpPr>
              <p:nvPr/>
            </p:nvSpPr>
            <p:spPr bwMode="auto">
              <a:xfrm>
                <a:off x="3270346" y="2140784"/>
                <a:ext cx="35994" cy="7713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0" y="6"/>
                  </a:cxn>
                  <a:cxn ang="0">
                    <a:pos x="20" y="2"/>
                  </a:cxn>
                  <a:cxn ang="0">
                    <a:pos x="28" y="0"/>
                  </a:cxn>
                </a:cxnLst>
                <a:rect l="0" t="0" r="r" b="b"/>
                <a:pathLst>
                  <a:path w="28" h="6">
                    <a:moveTo>
                      <a:pt x="28" y="0"/>
                    </a:moveTo>
                    <a:lnTo>
                      <a:pt x="0" y="6"/>
                    </a:lnTo>
                    <a:lnTo>
                      <a:pt x="20" y="2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8" name="Freeform 2986"/>
              <p:cNvSpPr>
                <a:spLocks/>
              </p:cNvSpPr>
              <p:nvPr/>
            </p:nvSpPr>
            <p:spPr bwMode="auto">
              <a:xfrm>
                <a:off x="2709870" y="1336064"/>
                <a:ext cx="673600" cy="1241789"/>
              </a:xfrm>
              <a:custGeom>
                <a:avLst/>
                <a:gdLst/>
                <a:ahLst/>
                <a:cxnLst>
                  <a:cxn ang="0">
                    <a:pos x="458" y="634"/>
                  </a:cxn>
                  <a:cxn ang="0">
                    <a:pos x="366" y="644"/>
                  </a:cxn>
                  <a:cxn ang="0">
                    <a:pos x="294" y="536"/>
                  </a:cxn>
                  <a:cxn ang="0">
                    <a:pos x="304" y="474"/>
                  </a:cxn>
                  <a:cxn ang="0">
                    <a:pos x="254" y="486"/>
                  </a:cxn>
                  <a:cxn ang="0">
                    <a:pos x="284" y="348"/>
                  </a:cxn>
                  <a:cxn ang="0">
                    <a:pos x="256" y="334"/>
                  </a:cxn>
                  <a:cxn ang="0">
                    <a:pos x="184" y="168"/>
                  </a:cxn>
                  <a:cxn ang="0">
                    <a:pos x="210" y="24"/>
                  </a:cxn>
                  <a:cxn ang="0">
                    <a:pos x="212" y="26"/>
                  </a:cxn>
                  <a:cxn ang="0">
                    <a:pos x="214" y="22"/>
                  </a:cxn>
                  <a:cxn ang="0">
                    <a:pos x="136" y="0"/>
                  </a:cxn>
                  <a:cxn ang="0">
                    <a:pos x="136" y="2"/>
                  </a:cxn>
                  <a:cxn ang="0">
                    <a:pos x="140" y="4"/>
                  </a:cxn>
                  <a:cxn ang="0">
                    <a:pos x="78" y="344"/>
                  </a:cxn>
                  <a:cxn ang="0">
                    <a:pos x="108" y="438"/>
                  </a:cxn>
                  <a:cxn ang="0">
                    <a:pos x="40" y="574"/>
                  </a:cxn>
                  <a:cxn ang="0">
                    <a:pos x="50" y="600"/>
                  </a:cxn>
                  <a:cxn ang="0">
                    <a:pos x="0" y="866"/>
                  </a:cxn>
                  <a:cxn ang="0">
                    <a:pos x="496" y="966"/>
                  </a:cxn>
                  <a:cxn ang="0">
                    <a:pos x="524" y="658"/>
                  </a:cxn>
                  <a:cxn ang="0">
                    <a:pos x="496" y="620"/>
                  </a:cxn>
                  <a:cxn ang="0">
                    <a:pos x="458" y="634"/>
                  </a:cxn>
                </a:cxnLst>
                <a:rect l="0" t="0" r="r" b="b"/>
                <a:pathLst>
                  <a:path w="524" h="966">
                    <a:moveTo>
                      <a:pt x="458" y="634"/>
                    </a:moveTo>
                    <a:lnTo>
                      <a:pt x="366" y="644"/>
                    </a:lnTo>
                    <a:lnTo>
                      <a:pt x="294" y="536"/>
                    </a:lnTo>
                    <a:lnTo>
                      <a:pt x="304" y="474"/>
                    </a:lnTo>
                    <a:lnTo>
                      <a:pt x="254" y="486"/>
                    </a:lnTo>
                    <a:lnTo>
                      <a:pt x="284" y="348"/>
                    </a:lnTo>
                    <a:lnTo>
                      <a:pt x="256" y="334"/>
                    </a:lnTo>
                    <a:lnTo>
                      <a:pt x="184" y="168"/>
                    </a:lnTo>
                    <a:lnTo>
                      <a:pt x="210" y="24"/>
                    </a:lnTo>
                    <a:lnTo>
                      <a:pt x="212" y="26"/>
                    </a:lnTo>
                    <a:lnTo>
                      <a:pt x="214" y="22"/>
                    </a:lnTo>
                    <a:lnTo>
                      <a:pt x="136" y="0"/>
                    </a:lnTo>
                    <a:lnTo>
                      <a:pt x="136" y="2"/>
                    </a:lnTo>
                    <a:lnTo>
                      <a:pt x="140" y="4"/>
                    </a:lnTo>
                    <a:lnTo>
                      <a:pt x="78" y="344"/>
                    </a:lnTo>
                    <a:lnTo>
                      <a:pt x="108" y="438"/>
                    </a:lnTo>
                    <a:lnTo>
                      <a:pt x="40" y="574"/>
                    </a:lnTo>
                    <a:lnTo>
                      <a:pt x="50" y="600"/>
                    </a:lnTo>
                    <a:lnTo>
                      <a:pt x="0" y="866"/>
                    </a:lnTo>
                    <a:lnTo>
                      <a:pt x="496" y="966"/>
                    </a:lnTo>
                    <a:lnTo>
                      <a:pt x="524" y="658"/>
                    </a:lnTo>
                    <a:lnTo>
                      <a:pt x="496" y="620"/>
                    </a:lnTo>
                    <a:lnTo>
                      <a:pt x="458" y="63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69" name="Freeform 2987"/>
              <p:cNvSpPr>
                <a:spLocks/>
              </p:cNvSpPr>
              <p:nvPr/>
            </p:nvSpPr>
            <p:spPr bwMode="auto">
              <a:xfrm>
                <a:off x="4982627" y="2508436"/>
                <a:ext cx="151688" cy="408788"/>
              </a:xfrm>
              <a:custGeom>
                <a:avLst/>
                <a:gdLst/>
                <a:ahLst/>
                <a:cxnLst>
                  <a:cxn ang="0">
                    <a:pos x="94" y="254"/>
                  </a:cxn>
                  <a:cxn ang="0">
                    <a:pos x="94" y="256"/>
                  </a:cxn>
                  <a:cxn ang="0">
                    <a:pos x="96" y="256"/>
                  </a:cxn>
                  <a:cxn ang="0">
                    <a:pos x="118" y="318"/>
                  </a:cxn>
                  <a:cxn ang="0">
                    <a:pos x="0" y="0"/>
                  </a:cxn>
                  <a:cxn ang="0">
                    <a:pos x="94" y="254"/>
                  </a:cxn>
                  <a:cxn ang="0">
                    <a:pos x="94" y="254"/>
                  </a:cxn>
                </a:cxnLst>
                <a:rect l="0" t="0" r="r" b="b"/>
                <a:pathLst>
                  <a:path w="118" h="318">
                    <a:moveTo>
                      <a:pt x="94" y="254"/>
                    </a:moveTo>
                    <a:lnTo>
                      <a:pt x="94" y="256"/>
                    </a:lnTo>
                    <a:lnTo>
                      <a:pt x="96" y="256"/>
                    </a:lnTo>
                    <a:lnTo>
                      <a:pt x="118" y="318"/>
                    </a:lnTo>
                    <a:lnTo>
                      <a:pt x="0" y="0"/>
                    </a:lnTo>
                    <a:lnTo>
                      <a:pt x="94" y="254"/>
                    </a:lnTo>
                    <a:lnTo>
                      <a:pt x="94" y="25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0" name="Freeform 2988"/>
              <p:cNvSpPr>
                <a:spLocks/>
              </p:cNvSpPr>
              <p:nvPr/>
            </p:nvSpPr>
            <p:spPr bwMode="auto">
              <a:xfrm>
                <a:off x="4969772" y="2089364"/>
                <a:ext cx="12855" cy="419072"/>
              </a:xfrm>
              <a:custGeom>
                <a:avLst/>
                <a:gdLst/>
                <a:ahLst/>
                <a:cxnLst>
                  <a:cxn ang="0">
                    <a:pos x="6" y="188"/>
                  </a:cxn>
                  <a:cxn ang="0">
                    <a:pos x="6" y="188"/>
                  </a:cxn>
                  <a:cxn ang="0">
                    <a:pos x="10" y="326"/>
                  </a:cxn>
                  <a:cxn ang="0">
                    <a:pos x="0" y="0"/>
                  </a:cxn>
                  <a:cxn ang="0">
                    <a:pos x="6" y="186"/>
                  </a:cxn>
                  <a:cxn ang="0">
                    <a:pos x="6" y="188"/>
                  </a:cxn>
                </a:cxnLst>
                <a:rect l="0" t="0" r="r" b="b"/>
                <a:pathLst>
                  <a:path w="10" h="326">
                    <a:moveTo>
                      <a:pt x="6" y="188"/>
                    </a:moveTo>
                    <a:lnTo>
                      <a:pt x="6" y="188"/>
                    </a:lnTo>
                    <a:lnTo>
                      <a:pt x="10" y="326"/>
                    </a:lnTo>
                    <a:lnTo>
                      <a:pt x="0" y="0"/>
                    </a:lnTo>
                    <a:lnTo>
                      <a:pt x="6" y="186"/>
                    </a:lnTo>
                    <a:lnTo>
                      <a:pt x="6" y="18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1" name="Freeform 2989"/>
              <p:cNvSpPr>
                <a:spLocks/>
              </p:cNvSpPr>
              <p:nvPr/>
            </p:nvSpPr>
            <p:spPr bwMode="auto">
              <a:xfrm>
                <a:off x="4159909" y="1552027"/>
                <a:ext cx="833001" cy="1249502"/>
              </a:xfrm>
              <a:custGeom>
                <a:avLst/>
                <a:gdLst/>
                <a:ahLst/>
                <a:cxnLst>
                  <a:cxn ang="0">
                    <a:pos x="478" y="708"/>
                  </a:cxn>
                  <a:cxn ang="0">
                    <a:pos x="648" y="766"/>
                  </a:cxn>
                  <a:cxn ang="0">
                    <a:pos x="646" y="758"/>
                  </a:cxn>
                  <a:cxn ang="0">
                    <a:pos x="478" y="704"/>
                  </a:cxn>
                  <a:cxn ang="0">
                    <a:pos x="4" y="706"/>
                  </a:cxn>
                  <a:cxn ang="0">
                    <a:pos x="8" y="458"/>
                  </a:cxn>
                  <a:cxn ang="0">
                    <a:pos x="6" y="458"/>
                  </a:cxn>
                  <a:cxn ang="0">
                    <a:pos x="6" y="358"/>
                  </a:cxn>
                  <a:cxn ang="0">
                    <a:pos x="616" y="356"/>
                  </a:cxn>
                  <a:cxn ang="0">
                    <a:pos x="618" y="352"/>
                  </a:cxn>
                  <a:cxn ang="0">
                    <a:pos x="6" y="354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0" y="972"/>
                  </a:cxn>
                  <a:cxn ang="0">
                    <a:pos x="4" y="710"/>
                  </a:cxn>
                  <a:cxn ang="0">
                    <a:pos x="478" y="708"/>
                  </a:cxn>
                </a:cxnLst>
                <a:rect l="0" t="0" r="r" b="b"/>
                <a:pathLst>
                  <a:path w="648" h="972">
                    <a:moveTo>
                      <a:pt x="478" y="708"/>
                    </a:moveTo>
                    <a:lnTo>
                      <a:pt x="648" y="766"/>
                    </a:lnTo>
                    <a:lnTo>
                      <a:pt x="646" y="758"/>
                    </a:lnTo>
                    <a:lnTo>
                      <a:pt x="478" y="704"/>
                    </a:lnTo>
                    <a:lnTo>
                      <a:pt x="4" y="706"/>
                    </a:lnTo>
                    <a:lnTo>
                      <a:pt x="8" y="458"/>
                    </a:lnTo>
                    <a:lnTo>
                      <a:pt x="6" y="458"/>
                    </a:lnTo>
                    <a:lnTo>
                      <a:pt x="6" y="358"/>
                    </a:lnTo>
                    <a:lnTo>
                      <a:pt x="616" y="356"/>
                    </a:lnTo>
                    <a:lnTo>
                      <a:pt x="618" y="352"/>
                    </a:lnTo>
                    <a:lnTo>
                      <a:pt x="6" y="354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0" y="972"/>
                    </a:lnTo>
                    <a:lnTo>
                      <a:pt x="4" y="710"/>
                    </a:lnTo>
                    <a:lnTo>
                      <a:pt x="478" y="70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2" name="Freeform 2990"/>
              <p:cNvSpPr>
                <a:spLocks/>
              </p:cNvSpPr>
              <p:nvPr/>
            </p:nvSpPr>
            <p:spPr bwMode="auto">
              <a:xfrm>
                <a:off x="4370731" y="2917223"/>
                <a:ext cx="773868" cy="10284"/>
              </a:xfrm>
              <a:custGeom>
                <a:avLst/>
                <a:gdLst/>
                <a:ahLst/>
                <a:cxnLst>
                  <a:cxn ang="0">
                    <a:pos x="602" y="6"/>
                  </a:cxn>
                  <a:cxn ang="0">
                    <a:pos x="594" y="0"/>
                  </a:cxn>
                  <a:cxn ang="0">
                    <a:pos x="0" y="8"/>
                  </a:cxn>
                  <a:cxn ang="0">
                    <a:pos x="602" y="6"/>
                  </a:cxn>
                </a:cxnLst>
                <a:rect l="0" t="0" r="r" b="b"/>
                <a:pathLst>
                  <a:path w="602" h="8">
                    <a:moveTo>
                      <a:pt x="602" y="6"/>
                    </a:moveTo>
                    <a:lnTo>
                      <a:pt x="594" y="0"/>
                    </a:lnTo>
                    <a:lnTo>
                      <a:pt x="0" y="8"/>
                    </a:lnTo>
                    <a:lnTo>
                      <a:pt x="602" y="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3" name="Freeform 2991"/>
              <p:cNvSpPr>
                <a:spLocks/>
              </p:cNvSpPr>
              <p:nvPr/>
            </p:nvSpPr>
            <p:spPr bwMode="auto">
              <a:xfrm>
                <a:off x="4861790" y="1513462"/>
                <a:ext cx="95127" cy="485917"/>
              </a:xfrm>
              <a:custGeom>
                <a:avLst/>
                <a:gdLst/>
                <a:ahLst/>
                <a:cxnLst>
                  <a:cxn ang="0">
                    <a:pos x="74" y="378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74" y="378"/>
                  </a:cxn>
                </a:cxnLst>
                <a:rect l="0" t="0" r="r" b="b"/>
                <a:pathLst>
                  <a:path w="74" h="378">
                    <a:moveTo>
                      <a:pt x="74" y="378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74" y="37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4" name="Freeform 2992"/>
              <p:cNvSpPr>
                <a:spLocks/>
              </p:cNvSpPr>
              <p:nvPr/>
            </p:nvSpPr>
            <p:spPr bwMode="auto">
              <a:xfrm>
                <a:off x="2952829" y="1361774"/>
                <a:ext cx="1213508" cy="807291"/>
              </a:xfrm>
              <a:custGeom>
                <a:avLst/>
                <a:gdLst/>
                <a:ahLst/>
                <a:cxnLst>
                  <a:cxn ang="0">
                    <a:pos x="260" y="62"/>
                  </a:cxn>
                  <a:cxn ang="0">
                    <a:pos x="22" y="0"/>
                  </a:cxn>
                  <a:cxn ang="0">
                    <a:pos x="20" y="4"/>
                  </a:cxn>
                  <a:cxn ang="0">
                    <a:pos x="24" y="4"/>
                  </a:cxn>
                  <a:cxn ang="0">
                    <a:pos x="0" y="148"/>
                  </a:cxn>
                  <a:cxn ang="0">
                    <a:pos x="66" y="306"/>
                  </a:cxn>
                  <a:cxn ang="0">
                    <a:pos x="100" y="326"/>
                  </a:cxn>
                  <a:cxn ang="0">
                    <a:pos x="70" y="456"/>
                  </a:cxn>
                  <a:cxn ang="0">
                    <a:pos x="118" y="444"/>
                  </a:cxn>
                  <a:cxn ang="0">
                    <a:pos x="110" y="514"/>
                  </a:cxn>
                  <a:cxn ang="0">
                    <a:pos x="180" y="618"/>
                  </a:cxn>
                  <a:cxn ang="0">
                    <a:pos x="244" y="610"/>
                  </a:cxn>
                  <a:cxn ang="0">
                    <a:pos x="272" y="604"/>
                  </a:cxn>
                  <a:cxn ang="0">
                    <a:pos x="308" y="594"/>
                  </a:cxn>
                  <a:cxn ang="0">
                    <a:pos x="334" y="628"/>
                  </a:cxn>
                  <a:cxn ang="0">
                    <a:pos x="336" y="620"/>
                  </a:cxn>
                  <a:cxn ang="0">
                    <a:pos x="342" y="558"/>
                  </a:cxn>
                  <a:cxn ang="0">
                    <a:pos x="936" y="596"/>
                  </a:cxn>
                  <a:cxn ang="0">
                    <a:pos x="940" y="144"/>
                  </a:cxn>
                  <a:cxn ang="0">
                    <a:pos x="944" y="146"/>
                  </a:cxn>
                  <a:cxn ang="0">
                    <a:pos x="944" y="140"/>
                  </a:cxn>
                  <a:cxn ang="0">
                    <a:pos x="260" y="62"/>
                  </a:cxn>
                </a:cxnLst>
                <a:rect l="0" t="0" r="r" b="b"/>
                <a:pathLst>
                  <a:path w="944" h="628">
                    <a:moveTo>
                      <a:pt x="260" y="62"/>
                    </a:moveTo>
                    <a:lnTo>
                      <a:pt x="22" y="0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0" y="148"/>
                    </a:lnTo>
                    <a:lnTo>
                      <a:pt x="66" y="306"/>
                    </a:lnTo>
                    <a:lnTo>
                      <a:pt x="100" y="326"/>
                    </a:lnTo>
                    <a:lnTo>
                      <a:pt x="70" y="456"/>
                    </a:lnTo>
                    <a:lnTo>
                      <a:pt x="118" y="444"/>
                    </a:lnTo>
                    <a:lnTo>
                      <a:pt x="110" y="514"/>
                    </a:lnTo>
                    <a:lnTo>
                      <a:pt x="180" y="618"/>
                    </a:lnTo>
                    <a:lnTo>
                      <a:pt x="244" y="610"/>
                    </a:lnTo>
                    <a:lnTo>
                      <a:pt x="272" y="604"/>
                    </a:lnTo>
                    <a:lnTo>
                      <a:pt x="308" y="594"/>
                    </a:lnTo>
                    <a:lnTo>
                      <a:pt x="334" y="628"/>
                    </a:lnTo>
                    <a:lnTo>
                      <a:pt x="336" y="620"/>
                    </a:lnTo>
                    <a:lnTo>
                      <a:pt x="342" y="558"/>
                    </a:lnTo>
                    <a:lnTo>
                      <a:pt x="936" y="596"/>
                    </a:lnTo>
                    <a:lnTo>
                      <a:pt x="940" y="144"/>
                    </a:lnTo>
                    <a:lnTo>
                      <a:pt x="944" y="146"/>
                    </a:lnTo>
                    <a:lnTo>
                      <a:pt x="944" y="140"/>
                    </a:lnTo>
                    <a:lnTo>
                      <a:pt x="260" y="6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5" name="Freeform 2993"/>
              <p:cNvSpPr>
                <a:spLocks/>
              </p:cNvSpPr>
              <p:nvPr/>
            </p:nvSpPr>
            <p:spPr bwMode="auto">
              <a:xfrm>
                <a:off x="4774376" y="2457016"/>
                <a:ext cx="215963" cy="719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8" y="56"/>
                  </a:cxn>
                  <a:cxn ang="0">
                    <a:pos x="168" y="54"/>
                  </a:cxn>
                  <a:cxn ang="0">
                    <a:pos x="0" y="0"/>
                  </a:cxn>
                </a:cxnLst>
                <a:rect l="0" t="0" r="r" b="b"/>
                <a:pathLst>
                  <a:path w="168" h="56">
                    <a:moveTo>
                      <a:pt x="0" y="0"/>
                    </a:moveTo>
                    <a:lnTo>
                      <a:pt x="168" y="56"/>
                    </a:lnTo>
                    <a:lnTo>
                      <a:pt x="168" y="5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6" name="Freeform 2994"/>
              <p:cNvSpPr>
                <a:spLocks/>
              </p:cNvSpPr>
              <p:nvPr/>
            </p:nvSpPr>
            <p:spPr bwMode="auto">
              <a:xfrm>
                <a:off x="4167622" y="1508320"/>
                <a:ext cx="789294" cy="498772"/>
              </a:xfrm>
              <a:custGeom>
                <a:avLst/>
                <a:gdLst/>
                <a:ahLst/>
                <a:cxnLst>
                  <a:cxn ang="0">
                    <a:pos x="614" y="382"/>
                  </a:cxn>
                  <a:cxn ang="0">
                    <a:pos x="540" y="4"/>
                  </a:cxn>
                  <a:cxn ang="0">
                    <a:pos x="542" y="4"/>
                  </a:cxn>
                  <a:cxn ang="0">
                    <a:pos x="542" y="0"/>
                  </a:cxn>
                  <a:cxn ang="0">
                    <a:pos x="26" y="32"/>
                  </a:cxn>
                  <a:cxn ang="0">
                    <a:pos x="2" y="28"/>
                  </a:cxn>
                  <a:cxn ang="0">
                    <a:pos x="2" y="34"/>
                  </a:cxn>
                  <a:cxn ang="0">
                    <a:pos x="4" y="34"/>
                  </a:cxn>
                  <a:cxn ang="0">
                    <a:pos x="0" y="388"/>
                  </a:cxn>
                  <a:cxn ang="0">
                    <a:pos x="612" y="386"/>
                  </a:cxn>
                  <a:cxn ang="0">
                    <a:pos x="610" y="388"/>
                  </a:cxn>
                  <a:cxn ang="0">
                    <a:pos x="610" y="388"/>
                  </a:cxn>
                  <a:cxn ang="0">
                    <a:pos x="614" y="382"/>
                  </a:cxn>
                </a:cxnLst>
                <a:rect l="0" t="0" r="r" b="b"/>
                <a:pathLst>
                  <a:path w="614" h="388">
                    <a:moveTo>
                      <a:pt x="614" y="382"/>
                    </a:moveTo>
                    <a:lnTo>
                      <a:pt x="540" y="4"/>
                    </a:lnTo>
                    <a:lnTo>
                      <a:pt x="542" y="4"/>
                    </a:lnTo>
                    <a:lnTo>
                      <a:pt x="542" y="0"/>
                    </a:lnTo>
                    <a:lnTo>
                      <a:pt x="26" y="32"/>
                    </a:lnTo>
                    <a:lnTo>
                      <a:pt x="2" y="28"/>
                    </a:lnTo>
                    <a:lnTo>
                      <a:pt x="2" y="34"/>
                    </a:lnTo>
                    <a:lnTo>
                      <a:pt x="4" y="34"/>
                    </a:lnTo>
                    <a:lnTo>
                      <a:pt x="0" y="388"/>
                    </a:lnTo>
                    <a:lnTo>
                      <a:pt x="612" y="386"/>
                    </a:lnTo>
                    <a:lnTo>
                      <a:pt x="610" y="388"/>
                    </a:lnTo>
                    <a:lnTo>
                      <a:pt x="610" y="388"/>
                    </a:lnTo>
                    <a:lnTo>
                      <a:pt x="614" y="38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7" name="Freeform 2995"/>
              <p:cNvSpPr>
                <a:spLocks/>
              </p:cNvSpPr>
              <p:nvPr/>
            </p:nvSpPr>
            <p:spPr bwMode="auto">
              <a:xfrm>
                <a:off x="4159909" y="2462158"/>
                <a:ext cx="974406" cy="465349"/>
              </a:xfrm>
              <a:custGeom>
                <a:avLst/>
                <a:gdLst/>
                <a:ahLst/>
                <a:cxnLst>
                  <a:cxn ang="0">
                    <a:pos x="736" y="292"/>
                  </a:cxn>
                  <a:cxn ang="0">
                    <a:pos x="734" y="292"/>
                  </a:cxn>
                  <a:cxn ang="0">
                    <a:pos x="734" y="290"/>
                  </a:cxn>
                  <a:cxn ang="0">
                    <a:pos x="734" y="290"/>
                  </a:cxn>
                  <a:cxn ang="0">
                    <a:pos x="646" y="52"/>
                  </a:cxn>
                  <a:cxn ang="0">
                    <a:pos x="646" y="52"/>
                  </a:cxn>
                  <a:cxn ang="0">
                    <a:pos x="648" y="58"/>
                  </a:cxn>
                  <a:cxn ang="0">
                    <a:pos x="478" y="0"/>
                  </a:cxn>
                  <a:cxn ang="0">
                    <a:pos x="4" y="2"/>
                  </a:cxn>
                  <a:cxn ang="0">
                    <a:pos x="0" y="264"/>
                  </a:cxn>
                  <a:cxn ang="0">
                    <a:pos x="158" y="268"/>
                  </a:cxn>
                  <a:cxn ang="0">
                    <a:pos x="164" y="362"/>
                  </a:cxn>
                  <a:cxn ang="0">
                    <a:pos x="758" y="354"/>
                  </a:cxn>
                  <a:cxn ang="0">
                    <a:pos x="736" y="292"/>
                  </a:cxn>
                </a:cxnLst>
                <a:rect l="0" t="0" r="r" b="b"/>
                <a:pathLst>
                  <a:path w="758" h="362">
                    <a:moveTo>
                      <a:pt x="736" y="292"/>
                    </a:moveTo>
                    <a:lnTo>
                      <a:pt x="734" y="292"/>
                    </a:lnTo>
                    <a:lnTo>
                      <a:pt x="734" y="290"/>
                    </a:lnTo>
                    <a:lnTo>
                      <a:pt x="734" y="290"/>
                    </a:lnTo>
                    <a:lnTo>
                      <a:pt x="646" y="52"/>
                    </a:lnTo>
                    <a:lnTo>
                      <a:pt x="646" y="52"/>
                    </a:lnTo>
                    <a:lnTo>
                      <a:pt x="648" y="58"/>
                    </a:lnTo>
                    <a:lnTo>
                      <a:pt x="478" y="0"/>
                    </a:lnTo>
                    <a:lnTo>
                      <a:pt x="4" y="2"/>
                    </a:lnTo>
                    <a:lnTo>
                      <a:pt x="0" y="264"/>
                    </a:lnTo>
                    <a:lnTo>
                      <a:pt x="158" y="268"/>
                    </a:lnTo>
                    <a:lnTo>
                      <a:pt x="164" y="362"/>
                    </a:lnTo>
                    <a:lnTo>
                      <a:pt x="758" y="354"/>
                    </a:lnTo>
                    <a:lnTo>
                      <a:pt x="736" y="29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8" name="Freeform 2996"/>
              <p:cNvSpPr>
                <a:spLocks/>
              </p:cNvSpPr>
              <p:nvPr/>
            </p:nvSpPr>
            <p:spPr bwMode="auto">
              <a:xfrm>
                <a:off x="4165051" y="2007092"/>
                <a:ext cx="825288" cy="521911"/>
              </a:xfrm>
              <a:custGeom>
                <a:avLst/>
                <a:gdLst/>
                <a:ahLst/>
                <a:cxnLst>
                  <a:cxn ang="0">
                    <a:pos x="636" y="390"/>
                  </a:cxn>
                  <a:cxn ang="0">
                    <a:pos x="632" y="252"/>
                  </a:cxn>
                  <a:cxn ang="0">
                    <a:pos x="632" y="252"/>
                  </a:cxn>
                  <a:cxn ang="0">
                    <a:pos x="632" y="250"/>
                  </a:cxn>
                  <a:cxn ang="0">
                    <a:pos x="626" y="64"/>
                  </a:cxn>
                  <a:cxn ang="0">
                    <a:pos x="596" y="26"/>
                  </a:cxn>
                  <a:cxn ang="0">
                    <a:pos x="612" y="0"/>
                  </a:cxn>
                  <a:cxn ang="0">
                    <a:pos x="612" y="0"/>
                  </a:cxn>
                  <a:cxn ang="0">
                    <a:pos x="612" y="2"/>
                  </a:cxn>
                  <a:cxn ang="0">
                    <a:pos x="2" y="4"/>
                  </a:cxn>
                  <a:cxn ang="0">
                    <a:pos x="2" y="104"/>
                  </a:cxn>
                  <a:cxn ang="0">
                    <a:pos x="4" y="104"/>
                  </a:cxn>
                  <a:cxn ang="0">
                    <a:pos x="0" y="352"/>
                  </a:cxn>
                  <a:cxn ang="0">
                    <a:pos x="474" y="350"/>
                  </a:cxn>
                  <a:cxn ang="0">
                    <a:pos x="642" y="404"/>
                  </a:cxn>
                  <a:cxn ang="0">
                    <a:pos x="642" y="406"/>
                  </a:cxn>
                  <a:cxn ang="0">
                    <a:pos x="642" y="406"/>
                  </a:cxn>
                  <a:cxn ang="0">
                    <a:pos x="636" y="390"/>
                  </a:cxn>
                </a:cxnLst>
                <a:rect l="0" t="0" r="r" b="b"/>
                <a:pathLst>
                  <a:path w="642" h="406">
                    <a:moveTo>
                      <a:pt x="636" y="390"/>
                    </a:moveTo>
                    <a:lnTo>
                      <a:pt x="632" y="252"/>
                    </a:lnTo>
                    <a:lnTo>
                      <a:pt x="632" y="252"/>
                    </a:lnTo>
                    <a:lnTo>
                      <a:pt x="632" y="250"/>
                    </a:lnTo>
                    <a:lnTo>
                      <a:pt x="626" y="64"/>
                    </a:lnTo>
                    <a:lnTo>
                      <a:pt x="596" y="26"/>
                    </a:lnTo>
                    <a:lnTo>
                      <a:pt x="612" y="0"/>
                    </a:lnTo>
                    <a:lnTo>
                      <a:pt x="612" y="0"/>
                    </a:lnTo>
                    <a:lnTo>
                      <a:pt x="612" y="2"/>
                    </a:lnTo>
                    <a:lnTo>
                      <a:pt x="2" y="4"/>
                    </a:lnTo>
                    <a:lnTo>
                      <a:pt x="2" y="104"/>
                    </a:lnTo>
                    <a:lnTo>
                      <a:pt x="4" y="104"/>
                    </a:lnTo>
                    <a:lnTo>
                      <a:pt x="0" y="352"/>
                    </a:lnTo>
                    <a:lnTo>
                      <a:pt x="474" y="350"/>
                    </a:lnTo>
                    <a:lnTo>
                      <a:pt x="642" y="404"/>
                    </a:lnTo>
                    <a:lnTo>
                      <a:pt x="642" y="406"/>
                    </a:lnTo>
                    <a:lnTo>
                      <a:pt x="642" y="406"/>
                    </a:lnTo>
                    <a:lnTo>
                      <a:pt x="636" y="39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79" name="Freeform 2997"/>
              <p:cNvSpPr>
                <a:spLocks/>
              </p:cNvSpPr>
              <p:nvPr/>
            </p:nvSpPr>
            <p:spPr bwMode="auto">
              <a:xfrm>
                <a:off x="4987769" y="2297614"/>
                <a:ext cx="673600" cy="537337"/>
              </a:xfrm>
              <a:custGeom>
                <a:avLst/>
                <a:gdLst/>
                <a:ahLst/>
                <a:cxnLst>
                  <a:cxn ang="0">
                    <a:pos x="524" y="202"/>
                  </a:cxn>
                  <a:cxn ang="0">
                    <a:pos x="516" y="146"/>
                  </a:cxn>
                  <a:cxn ang="0">
                    <a:pos x="444" y="76"/>
                  </a:cxn>
                  <a:cxn ang="0">
                    <a:pos x="428" y="2"/>
                  </a:cxn>
                  <a:cxn ang="0">
                    <a:pos x="428" y="0"/>
                  </a:cxn>
                  <a:cxn ang="0">
                    <a:pos x="416" y="0"/>
                  </a:cxn>
                  <a:cxn ang="0">
                    <a:pos x="426" y="0"/>
                  </a:cxn>
                  <a:cxn ang="0">
                    <a:pos x="428" y="6"/>
                  </a:cxn>
                  <a:cxn ang="0">
                    <a:pos x="0" y="24"/>
                  </a:cxn>
                  <a:cxn ang="0">
                    <a:pos x="4" y="160"/>
                  </a:cxn>
                  <a:cxn ang="0">
                    <a:pos x="98" y="418"/>
                  </a:cxn>
                  <a:cxn ang="0">
                    <a:pos x="444" y="408"/>
                  </a:cxn>
                  <a:cxn ang="0">
                    <a:pos x="444" y="378"/>
                  </a:cxn>
                  <a:cxn ang="0">
                    <a:pos x="484" y="308"/>
                  </a:cxn>
                  <a:cxn ang="0">
                    <a:pos x="464" y="268"/>
                  </a:cxn>
                  <a:cxn ang="0">
                    <a:pos x="524" y="202"/>
                  </a:cxn>
                </a:cxnLst>
                <a:rect l="0" t="0" r="r" b="b"/>
                <a:pathLst>
                  <a:path w="524" h="418">
                    <a:moveTo>
                      <a:pt x="524" y="202"/>
                    </a:moveTo>
                    <a:lnTo>
                      <a:pt x="516" y="146"/>
                    </a:lnTo>
                    <a:lnTo>
                      <a:pt x="444" y="76"/>
                    </a:lnTo>
                    <a:lnTo>
                      <a:pt x="428" y="2"/>
                    </a:lnTo>
                    <a:lnTo>
                      <a:pt x="428" y="0"/>
                    </a:lnTo>
                    <a:lnTo>
                      <a:pt x="416" y="0"/>
                    </a:lnTo>
                    <a:lnTo>
                      <a:pt x="426" y="0"/>
                    </a:lnTo>
                    <a:lnTo>
                      <a:pt x="428" y="6"/>
                    </a:lnTo>
                    <a:lnTo>
                      <a:pt x="0" y="24"/>
                    </a:lnTo>
                    <a:lnTo>
                      <a:pt x="4" y="160"/>
                    </a:lnTo>
                    <a:lnTo>
                      <a:pt x="98" y="418"/>
                    </a:lnTo>
                    <a:lnTo>
                      <a:pt x="444" y="408"/>
                    </a:lnTo>
                    <a:lnTo>
                      <a:pt x="444" y="378"/>
                    </a:lnTo>
                    <a:lnTo>
                      <a:pt x="484" y="308"/>
                    </a:lnTo>
                    <a:lnTo>
                      <a:pt x="464" y="268"/>
                    </a:lnTo>
                    <a:lnTo>
                      <a:pt x="524" y="20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0" name="Freeform 2998"/>
              <p:cNvSpPr>
                <a:spLocks/>
              </p:cNvSpPr>
              <p:nvPr/>
            </p:nvSpPr>
            <p:spPr bwMode="auto">
              <a:xfrm>
                <a:off x="4864361" y="1498036"/>
                <a:ext cx="753300" cy="820146"/>
              </a:xfrm>
              <a:custGeom>
                <a:avLst/>
                <a:gdLst/>
                <a:ahLst/>
                <a:cxnLst>
                  <a:cxn ang="0">
                    <a:pos x="514" y="566"/>
                  </a:cxn>
                  <a:cxn ang="0">
                    <a:pos x="376" y="482"/>
                  </a:cxn>
                  <a:cxn ang="0">
                    <a:pos x="346" y="344"/>
                  </a:cxn>
                  <a:cxn ang="0">
                    <a:pos x="386" y="302"/>
                  </a:cxn>
                  <a:cxn ang="0">
                    <a:pos x="424" y="214"/>
                  </a:cxn>
                  <a:cxn ang="0">
                    <a:pos x="418" y="216"/>
                  </a:cxn>
                  <a:cxn ang="0">
                    <a:pos x="506" y="108"/>
                  </a:cxn>
                  <a:cxn ang="0">
                    <a:pos x="586" y="54"/>
                  </a:cxn>
                  <a:cxn ang="0">
                    <a:pos x="406" y="54"/>
                  </a:cxn>
                  <a:cxn ang="0">
                    <a:pos x="158" y="0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78" y="390"/>
                  </a:cxn>
                  <a:cxn ang="0">
                    <a:pos x="60" y="422"/>
                  </a:cxn>
                  <a:cxn ang="0">
                    <a:pos x="90" y="460"/>
                  </a:cxn>
                  <a:cxn ang="0">
                    <a:pos x="96" y="638"/>
                  </a:cxn>
                  <a:cxn ang="0">
                    <a:pos x="512" y="622"/>
                  </a:cxn>
                  <a:cxn ang="0">
                    <a:pos x="524" y="622"/>
                  </a:cxn>
                  <a:cxn ang="0">
                    <a:pos x="514" y="566"/>
                  </a:cxn>
                </a:cxnLst>
                <a:rect l="0" t="0" r="r" b="b"/>
                <a:pathLst>
                  <a:path w="586" h="638">
                    <a:moveTo>
                      <a:pt x="514" y="566"/>
                    </a:moveTo>
                    <a:lnTo>
                      <a:pt x="376" y="482"/>
                    </a:lnTo>
                    <a:lnTo>
                      <a:pt x="346" y="344"/>
                    </a:lnTo>
                    <a:lnTo>
                      <a:pt x="386" y="302"/>
                    </a:lnTo>
                    <a:lnTo>
                      <a:pt x="424" y="214"/>
                    </a:lnTo>
                    <a:lnTo>
                      <a:pt x="418" y="216"/>
                    </a:lnTo>
                    <a:lnTo>
                      <a:pt x="506" y="108"/>
                    </a:lnTo>
                    <a:lnTo>
                      <a:pt x="586" y="54"/>
                    </a:lnTo>
                    <a:lnTo>
                      <a:pt x="406" y="54"/>
                    </a:lnTo>
                    <a:lnTo>
                      <a:pt x="158" y="0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78" y="390"/>
                    </a:lnTo>
                    <a:lnTo>
                      <a:pt x="60" y="422"/>
                    </a:lnTo>
                    <a:lnTo>
                      <a:pt x="90" y="460"/>
                    </a:lnTo>
                    <a:lnTo>
                      <a:pt x="96" y="638"/>
                    </a:lnTo>
                    <a:lnTo>
                      <a:pt x="512" y="622"/>
                    </a:lnTo>
                    <a:lnTo>
                      <a:pt x="524" y="622"/>
                    </a:lnTo>
                    <a:lnTo>
                      <a:pt x="514" y="56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1" name="Freeform 2999"/>
              <p:cNvSpPr>
                <a:spLocks/>
              </p:cNvSpPr>
              <p:nvPr/>
            </p:nvSpPr>
            <p:spPr bwMode="auto">
              <a:xfrm>
                <a:off x="5725643" y="3002066"/>
                <a:ext cx="105411" cy="177398"/>
              </a:xfrm>
              <a:custGeom>
                <a:avLst/>
                <a:gdLst/>
                <a:ahLst/>
                <a:cxnLst>
                  <a:cxn ang="0">
                    <a:pos x="4" y="84"/>
                  </a:cxn>
                  <a:cxn ang="0">
                    <a:pos x="4" y="0"/>
                  </a:cxn>
                  <a:cxn ang="0">
                    <a:pos x="0" y="84"/>
                  </a:cxn>
                  <a:cxn ang="0">
                    <a:pos x="82" y="138"/>
                  </a:cxn>
                  <a:cxn ang="0">
                    <a:pos x="4" y="84"/>
                  </a:cxn>
                </a:cxnLst>
                <a:rect l="0" t="0" r="r" b="b"/>
                <a:pathLst>
                  <a:path w="82" h="138">
                    <a:moveTo>
                      <a:pt x="4" y="84"/>
                    </a:moveTo>
                    <a:lnTo>
                      <a:pt x="4" y="0"/>
                    </a:lnTo>
                    <a:lnTo>
                      <a:pt x="0" y="84"/>
                    </a:lnTo>
                    <a:lnTo>
                      <a:pt x="82" y="138"/>
                    </a:lnTo>
                    <a:lnTo>
                      <a:pt x="4" y="8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2" name="Freeform 3000"/>
              <p:cNvSpPr>
                <a:spLocks/>
              </p:cNvSpPr>
              <p:nvPr/>
            </p:nvSpPr>
            <p:spPr bwMode="auto">
              <a:xfrm>
                <a:off x="5725643" y="3102335"/>
                <a:ext cx="300806" cy="187682"/>
              </a:xfrm>
              <a:custGeom>
                <a:avLst/>
                <a:gdLst/>
                <a:ahLst/>
                <a:cxnLst>
                  <a:cxn ang="0">
                    <a:pos x="110" y="146"/>
                  </a:cxn>
                  <a:cxn ang="0">
                    <a:pos x="132" y="102"/>
                  </a:cxn>
                  <a:cxn ang="0">
                    <a:pos x="182" y="128"/>
                  </a:cxn>
                  <a:cxn ang="0">
                    <a:pos x="224" y="72"/>
                  </a:cxn>
                  <a:cxn ang="0">
                    <a:pos x="234" y="0"/>
                  </a:cxn>
                  <a:cxn ang="0">
                    <a:pos x="222" y="72"/>
                  </a:cxn>
                  <a:cxn ang="0">
                    <a:pos x="182" y="124"/>
                  </a:cxn>
                  <a:cxn ang="0">
                    <a:pos x="132" y="96"/>
                  </a:cxn>
                  <a:cxn ang="0">
                    <a:pos x="110" y="138"/>
                  </a:cxn>
                  <a:cxn ang="0">
                    <a:pos x="82" y="60"/>
                  </a:cxn>
                  <a:cxn ang="0">
                    <a:pos x="0" y="6"/>
                  </a:cxn>
                  <a:cxn ang="0">
                    <a:pos x="80" y="64"/>
                  </a:cxn>
                  <a:cxn ang="0">
                    <a:pos x="110" y="146"/>
                  </a:cxn>
                </a:cxnLst>
                <a:rect l="0" t="0" r="r" b="b"/>
                <a:pathLst>
                  <a:path w="234" h="146">
                    <a:moveTo>
                      <a:pt x="110" y="146"/>
                    </a:moveTo>
                    <a:lnTo>
                      <a:pt x="132" y="102"/>
                    </a:lnTo>
                    <a:lnTo>
                      <a:pt x="182" y="128"/>
                    </a:lnTo>
                    <a:lnTo>
                      <a:pt x="224" y="72"/>
                    </a:lnTo>
                    <a:lnTo>
                      <a:pt x="234" y="0"/>
                    </a:lnTo>
                    <a:lnTo>
                      <a:pt x="222" y="72"/>
                    </a:lnTo>
                    <a:lnTo>
                      <a:pt x="182" y="124"/>
                    </a:lnTo>
                    <a:lnTo>
                      <a:pt x="132" y="96"/>
                    </a:lnTo>
                    <a:lnTo>
                      <a:pt x="110" y="138"/>
                    </a:lnTo>
                    <a:lnTo>
                      <a:pt x="82" y="60"/>
                    </a:lnTo>
                    <a:lnTo>
                      <a:pt x="0" y="6"/>
                    </a:lnTo>
                    <a:lnTo>
                      <a:pt x="80" y="64"/>
                    </a:lnTo>
                    <a:lnTo>
                      <a:pt x="110" y="14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3" name="Freeform 3001"/>
              <p:cNvSpPr>
                <a:spLocks/>
              </p:cNvSpPr>
              <p:nvPr/>
            </p:nvSpPr>
            <p:spPr bwMode="auto">
              <a:xfrm>
                <a:off x="6011023" y="2984069"/>
                <a:ext cx="35994" cy="210821"/>
              </a:xfrm>
              <a:custGeom>
                <a:avLst/>
                <a:gdLst/>
                <a:ahLst/>
                <a:cxnLst>
                  <a:cxn ang="0">
                    <a:pos x="0" y="164"/>
                  </a:cxn>
                  <a:cxn ang="0">
                    <a:pos x="12" y="92"/>
                  </a:cxn>
                  <a:cxn ang="0">
                    <a:pos x="14" y="82"/>
                  </a:cxn>
                  <a:cxn ang="0">
                    <a:pos x="16" y="72"/>
                  </a:cxn>
                  <a:cxn ang="0">
                    <a:pos x="28" y="0"/>
                  </a:cxn>
                  <a:cxn ang="0">
                    <a:pos x="8" y="82"/>
                  </a:cxn>
                  <a:cxn ang="0">
                    <a:pos x="0" y="164"/>
                  </a:cxn>
                </a:cxnLst>
                <a:rect l="0" t="0" r="r" b="b"/>
                <a:pathLst>
                  <a:path w="28" h="164">
                    <a:moveTo>
                      <a:pt x="0" y="164"/>
                    </a:moveTo>
                    <a:lnTo>
                      <a:pt x="12" y="92"/>
                    </a:lnTo>
                    <a:lnTo>
                      <a:pt x="14" y="82"/>
                    </a:lnTo>
                    <a:lnTo>
                      <a:pt x="16" y="72"/>
                    </a:lnTo>
                    <a:lnTo>
                      <a:pt x="28" y="0"/>
                    </a:lnTo>
                    <a:lnTo>
                      <a:pt x="8" y="82"/>
                    </a:lnTo>
                    <a:lnTo>
                      <a:pt x="0" y="16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4" name="Freeform 3003"/>
              <p:cNvSpPr>
                <a:spLocks/>
              </p:cNvSpPr>
              <p:nvPr/>
            </p:nvSpPr>
            <p:spPr bwMode="auto">
              <a:xfrm>
                <a:off x="6026449" y="3076625"/>
                <a:ext cx="5142" cy="2571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4" y="0"/>
                  </a:cxn>
                  <a:cxn ang="0">
                    <a:pos x="2" y="10"/>
                  </a:cxn>
                  <a:cxn ang="0">
                    <a:pos x="0" y="20"/>
                  </a:cxn>
                </a:cxnLst>
                <a:rect l="0" t="0" r="r" b="b"/>
                <a:pathLst>
                  <a:path w="4" h="20">
                    <a:moveTo>
                      <a:pt x="0" y="20"/>
                    </a:moveTo>
                    <a:lnTo>
                      <a:pt x="4" y="0"/>
                    </a:lnTo>
                    <a:lnTo>
                      <a:pt x="2" y="1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5" name="Freeform 3004"/>
              <p:cNvSpPr>
                <a:spLocks/>
              </p:cNvSpPr>
              <p:nvPr/>
            </p:nvSpPr>
            <p:spPr bwMode="auto">
              <a:xfrm>
                <a:off x="6088153" y="3050915"/>
                <a:ext cx="133692" cy="77130"/>
              </a:xfrm>
              <a:custGeom>
                <a:avLst/>
                <a:gdLst/>
                <a:ahLst/>
                <a:cxnLst>
                  <a:cxn ang="0">
                    <a:pos x="24" y="54"/>
                  </a:cxn>
                  <a:cxn ang="0">
                    <a:pos x="0" y="40"/>
                  </a:cxn>
                  <a:cxn ang="0">
                    <a:pos x="24" y="60"/>
                  </a:cxn>
                  <a:cxn ang="0">
                    <a:pos x="104" y="0"/>
                  </a:cxn>
                  <a:cxn ang="0">
                    <a:pos x="24" y="54"/>
                  </a:cxn>
                </a:cxnLst>
                <a:rect l="0" t="0" r="r" b="b"/>
                <a:pathLst>
                  <a:path w="104" h="60">
                    <a:moveTo>
                      <a:pt x="24" y="54"/>
                    </a:moveTo>
                    <a:lnTo>
                      <a:pt x="0" y="40"/>
                    </a:lnTo>
                    <a:lnTo>
                      <a:pt x="24" y="60"/>
                    </a:lnTo>
                    <a:lnTo>
                      <a:pt x="104" y="0"/>
                    </a:lnTo>
                    <a:lnTo>
                      <a:pt x="24" y="5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6" name="Freeform 3005"/>
              <p:cNvSpPr>
                <a:spLocks/>
              </p:cNvSpPr>
              <p:nvPr/>
            </p:nvSpPr>
            <p:spPr bwMode="auto">
              <a:xfrm>
                <a:off x="6257838" y="2878658"/>
                <a:ext cx="113124" cy="190253"/>
              </a:xfrm>
              <a:custGeom>
                <a:avLst/>
                <a:gdLst/>
                <a:ahLst/>
                <a:cxnLst>
                  <a:cxn ang="0">
                    <a:pos x="0" y="148"/>
                  </a:cxn>
                  <a:cxn ang="0">
                    <a:pos x="52" y="42"/>
                  </a:cxn>
                  <a:cxn ang="0">
                    <a:pos x="88" y="0"/>
                  </a:cxn>
                  <a:cxn ang="0">
                    <a:pos x="50" y="40"/>
                  </a:cxn>
                  <a:cxn ang="0">
                    <a:pos x="0" y="148"/>
                  </a:cxn>
                </a:cxnLst>
                <a:rect l="0" t="0" r="r" b="b"/>
                <a:pathLst>
                  <a:path w="88" h="148">
                    <a:moveTo>
                      <a:pt x="0" y="148"/>
                    </a:moveTo>
                    <a:lnTo>
                      <a:pt x="52" y="42"/>
                    </a:lnTo>
                    <a:lnTo>
                      <a:pt x="88" y="0"/>
                    </a:lnTo>
                    <a:lnTo>
                      <a:pt x="50" y="40"/>
                    </a:lnTo>
                    <a:lnTo>
                      <a:pt x="0" y="14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7" name="Freeform 3006"/>
              <p:cNvSpPr>
                <a:spLocks/>
              </p:cNvSpPr>
              <p:nvPr/>
            </p:nvSpPr>
            <p:spPr bwMode="auto">
              <a:xfrm>
                <a:off x="6018736" y="3102335"/>
                <a:ext cx="100269" cy="61704"/>
              </a:xfrm>
              <a:custGeom>
                <a:avLst/>
                <a:gdLst/>
                <a:ahLst/>
                <a:cxnLst>
                  <a:cxn ang="0">
                    <a:pos x="0" y="44"/>
                  </a:cxn>
                  <a:cxn ang="0">
                    <a:pos x="0" y="48"/>
                  </a:cxn>
                  <a:cxn ang="0">
                    <a:pos x="54" y="4"/>
                  </a:cxn>
                  <a:cxn ang="0">
                    <a:pos x="78" y="20"/>
                  </a:cxn>
                  <a:cxn ang="0">
                    <a:pos x="54" y="0"/>
                  </a:cxn>
                  <a:cxn ang="0">
                    <a:pos x="0" y="44"/>
                  </a:cxn>
                </a:cxnLst>
                <a:rect l="0" t="0" r="r" b="b"/>
                <a:pathLst>
                  <a:path w="78" h="48">
                    <a:moveTo>
                      <a:pt x="0" y="44"/>
                    </a:moveTo>
                    <a:lnTo>
                      <a:pt x="0" y="48"/>
                    </a:lnTo>
                    <a:lnTo>
                      <a:pt x="54" y="4"/>
                    </a:lnTo>
                    <a:lnTo>
                      <a:pt x="78" y="20"/>
                    </a:lnTo>
                    <a:lnTo>
                      <a:pt x="54" y="0"/>
                    </a:lnTo>
                    <a:lnTo>
                      <a:pt x="0" y="4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8" name="Freeform 3007"/>
              <p:cNvSpPr>
                <a:spLocks/>
              </p:cNvSpPr>
              <p:nvPr/>
            </p:nvSpPr>
            <p:spPr bwMode="auto">
              <a:xfrm>
                <a:off x="6119005" y="2932649"/>
                <a:ext cx="205679" cy="195395"/>
              </a:xfrm>
              <a:custGeom>
                <a:avLst/>
                <a:gdLst/>
                <a:ahLst/>
                <a:cxnLst>
                  <a:cxn ang="0">
                    <a:pos x="80" y="92"/>
                  </a:cxn>
                  <a:cxn ang="0">
                    <a:pos x="0" y="152"/>
                  </a:cxn>
                  <a:cxn ang="0">
                    <a:pos x="80" y="96"/>
                  </a:cxn>
                  <a:cxn ang="0">
                    <a:pos x="110" y="110"/>
                  </a:cxn>
                  <a:cxn ang="0">
                    <a:pos x="160" y="0"/>
                  </a:cxn>
                  <a:cxn ang="0">
                    <a:pos x="108" y="106"/>
                  </a:cxn>
                  <a:cxn ang="0">
                    <a:pos x="80" y="92"/>
                  </a:cxn>
                </a:cxnLst>
                <a:rect l="0" t="0" r="r" b="b"/>
                <a:pathLst>
                  <a:path w="160" h="152">
                    <a:moveTo>
                      <a:pt x="80" y="92"/>
                    </a:moveTo>
                    <a:lnTo>
                      <a:pt x="0" y="152"/>
                    </a:lnTo>
                    <a:lnTo>
                      <a:pt x="80" y="96"/>
                    </a:lnTo>
                    <a:lnTo>
                      <a:pt x="110" y="110"/>
                    </a:lnTo>
                    <a:lnTo>
                      <a:pt x="160" y="0"/>
                    </a:lnTo>
                    <a:lnTo>
                      <a:pt x="108" y="106"/>
                    </a:lnTo>
                    <a:lnTo>
                      <a:pt x="80" y="9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89" name="Freeform 3008"/>
              <p:cNvSpPr>
                <a:spLocks/>
              </p:cNvSpPr>
              <p:nvPr/>
            </p:nvSpPr>
            <p:spPr bwMode="auto">
              <a:xfrm>
                <a:off x="6365820" y="2860662"/>
                <a:ext cx="5142" cy="1799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14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4" h="14">
                    <a:moveTo>
                      <a:pt x="0" y="2"/>
                    </a:moveTo>
                    <a:lnTo>
                      <a:pt x="4" y="14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0" name="Freeform 3010"/>
              <p:cNvSpPr>
                <a:spLocks/>
              </p:cNvSpPr>
              <p:nvPr/>
            </p:nvSpPr>
            <p:spPr bwMode="auto">
              <a:xfrm>
                <a:off x="6000739" y="2480155"/>
                <a:ext cx="370223" cy="673600"/>
              </a:xfrm>
              <a:custGeom>
                <a:avLst/>
                <a:gdLst/>
                <a:ahLst/>
                <a:cxnLst>
                  <a:cxn ang="0">
                    <a:pos x="92" y="498"/>
                  </a:cxn>
                  <a:cxn ang="0">
                    <a:pos x="172" y="444"/>
                  </a:cxn>
                  <a:cxn ang="0">
                    <a:pos x="200" y="458"/>
                  </a:cxn>
                  <a:cxn ang="0">
                    <a:pos x="250" y="350"/>
                  </a:cxn>
                  <a:cxn ang="0">
                    <a:pos x="288" y="310"/>
                  </a:cxn>
                  <a:cxn ang="0">
                    <a:pos x="284" y="298"/>
                  </a:cxn>
                  <a:cxn ang="0">
                    <a:pos x="284" y="298"/>
                  </a:cxn>
                  <a:cxn ang="0">
                    <a:pos x="284" y="296"/>
                  </a:cxn>
                  <a:cxn ang="0">
                    <a:pos x="216" y="0"/>
                  </a:cxn>
                  <a:cxn ang="0">
                    <a:pos x="26" y="6"/>
                  </a:cxn>
                  <a:cxn ang="0">
                    <a:pos x="0" y="28"/>
                  </a:cxn>
                  <a:cxn ang="0">
                    <a:pos x="38" y="392"/>
                  </a:cxn>
                  <a:cxn ang="0">
                    <a:pos x="24" y="464"/>
                  </a:cxn>
                  <a:cxn ang="0">
                    <a:pos x="20" y="484"/>
                  </a:cxn>
                  <a:cxn ang="0">
                    <a:pos x="14" y="524"/>
                  </a:cxn>
                  <a:cxn ang="0">
                    <a:pos x="68" y="484"/>
                  </a:cxn>
                  <a:cxn ang="0">
                    <a:pos x="92" y="498"/>
                  </a:cxn>
                </a:cxnLst>
                <a:rect l="0" t="0" r="r" b="b"/>
                <a:pathLst>
                  <a:path w="288" h="524">
                    <a:moveTo>
                      <a:pt x="92" y="498"/>
                    </a:moveTo>
                    <a:lnTo>
                      <a:pt x="172" y="444"/>
                    </a:lnTo>
                    <a:lnTo>
                      <a:pt x="200" y="458"/>
                    </a:lnTo>
                    <a:lnTo>
                      <a:pt x="250" y="350"/>
                    </a:lnTo>
                    <a:lnTo>
                      <a:pt x="288" y="310"/>
                    </a:lnTo>
                    <a:lnTo>
                      <a:pt x="284" y="298"/>
                    </a:lnTo>
                    <a:lnTo>
                      <a:pt x="284" y="298"/>
                    </a:lnTo>
                    <a:lnTo>
                      <a:pt x="284" y="296"/>
                    </a:lnTo>
                    <a:lnTo>
                      <a:pt x="216" y="0"/>
                    </a:lnTo>
                    <a:lnTo>
                      <a:pt x="26" y="6"/>
                    </a:lnTo>
                    <a:lnTo>
                      <a:pt x="0" y="28"/>
                    </a:lnTo>
                    <a:lnTo>
                      <a:pt x="38" y="392"/>
                    </a:lnTo>
                    <a:lnTo>
                      <a:pt x="24" y="464"/>
                    </a:lnTo>
                    <a:lnTo>
                      <a:pt x="20" y="484"/>
                    </a:lnTo>
                    <a:lnTo>
                      <a:pt x="14" y="524"/>
                    </a:lnTo>
                    <a:lnTo>
                      <a:pt x="68" y="484"/>
                    </a:lnTo>
                    <a:lnTo>
                      <a:pt x="92" y="49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1" name="Freeform 3011"/>
              <p:cNvSpPr>
                <a:spLocks/>
              </p:cNvSpPr>
              <p:nvPr/>
            </p:nvSpPr>
            <p:spPr bwMode="auto">
              <a:xfrm>
                <a:off x="6090724" y="3583110"/>
                <a:ext cx="41136" cy="44992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2" y="350"/>
                  </a:cxn>
                  <a:cxn ang="0">
                    <a:pos x="8" y="68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32" h="350">
                    <a:moveTo>
                      <a:pt x="0" y="0"/>
                    </a:moveTo>
                    <a:lnTo>
                      <a:pt x="32" y="350"/>
                    </a:lnTo>
                    <a:lnTo>
                      <a:pt x="8" y="68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2" name="Freeform 3012"/>
              <p:cNvSpPr>
                <a:spLocks/>
              </p:cNvSpPr>
              <p:nvPr/>
            </p:nvSpPr>
            <p:spPr bwMode="auto">
              <a:xfrm>
                <a:off x="5733356" y="3580539"/>
                <a:ext cx="421643" cy="753300"/>
              </a:xfrm>
              <a:custGeom>
                <a:avLst/>
                <a:gdLst/>
                <a:ahLst/>
                <a:cxnLst>
                  <a:cxn ang="0">
                    <a:pos x="278" y="0"/>
                  </a:cxn>
                  <a:cxn ang="0">
                    <a:pos x="74" y="22"/>
                  </a:cxn>
                  <a:cxn ang="0">
                    <a:pos x="0" y="240"/>
                  </a:cxn>
                  <a:cxn ang="0">
                    <a:pos x="38" y="372"/>
                  </a:cxn>
                  <a:cxn ang="0">
                    <a:pos x="6" y="522"/>
                  </a:cxn>
                  <a:cxn ang="0">
                    <a:pos x="178" y="508"/>
                  </a:cxn>
                  <a:cxn ang="0">
                    <a:pos x="216" y="586"/>
                  </a:cxn>
                  <a:cxn ang="0">
                    <a:pos x="298" y="560"/>
                  </a:cxn>
                  <a:cxn ang="0">
                    <a:pos x="328" y="560"/>
                  </a:cxn>
                  <a:cxn ang="0">
                    <a:pos x="310" y="352"/>
                  </a:cxn>
                  <a:cxn ang="0">
                    <a:pos x="278" y="2"/>
                  </a:cxn>
                  <a:cxn ang="0">
                    <a:pos x="280" y="2"/>
                  </a:cxn>
                  <a:cxn ang="0">
                    <a:pos x="286" y="70"/>
                  </a:cxn>
                  <a:cxn ang="0">
                    <a:pos x="280" y="0"/>
                  </a:cxn>
                  <a:cxn ang="0">
                    <a:pos x="278" y="0"/>
                  </a:cxn>
                </a:cxnLst>
                <a:rect l="0" t="0" r="r" b="b"/>
                <a:pathLst>
                  <a:path w="328" h="586">
                    <a:moveTo>
                      <a:pt x="278" y="0"/>
                    </a:moveTo>
                    <a:lnTo>
                      <a:pt x="74" y="22"/>
                    </a:lnTo>
                    <a:lnTo>
                      <a:pt x="0" y="240"/>
                    </a:lnTo>
                    <a:lnTo>
                      <a:pt x="38" y="372"/>
                    </a:lnTo>
                    <a:lnTo>
                      <a:pt x="6" y="522"/>
                    </a:lnTo>
                    <a:lnTo>
                      <a:pt x="178" y="508"/>
                    </a:lnTo>
                    <a:lnTo>
                      <a:pt x="216" y="586"/>
                    </a:lnTo>
                    <a:lnTo>
                      <a:pt x="298" y="560"/>
                    </a:lnTo>
                    <a:lnTo>
                      <a:pt x="328" y="560"/>
                    </a:lnTo>
                    <a:lnTo>
                      <a:pt x="310" y="352"/>
                    </a:lnTo>
                    <a:lnTo>
                      <a:pt x="278" y="2"/>
                    </a:lnTo>
                    <a:lnTo>
                      <a:pt x="280" y="2"/>
                    </a:lnTo>
                    <a:lnTo>
                      <a:pt x="286" y="70"/>
                    </a:lnTo>
                    <a:lnTo>
                      <a:pt x="280" y="0"/>
                    </a:lnTo>
                    <a:lnTo>
                      <a:pt x="278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3" name="Freeform 3013"/>
              <p:cNvSpPr>
                <a:spLocks/>
              </p:cNvSpPr>
              <p:nvPr/>
            </p:nvSpPr>
            <p:spPr bwMode="auto">
              <a:xfrm>
                <a:off x="6131860" y="4033033"/>
                <a:ext cx="25710" cy="267383"/>
              </a:xfrm>
              <a:custGeom>
                <a:avLst/>
                <a:gdLst/>
                <a:ahLst/>
                <a:cxnLst>
                  <a:cxn ang="0">
                    <a:pos x="20" y="208"/>
                  </a:cxn>
                  <a:cxn ang="0">
                    <a:pos x="0" y="0"/>
                  </a:cxn>
                  <a:cxn ang="0">
                    <a:pos x="18" y="208"/>
                  </a:cxn>
                  <a:cxn ang="0">
                    <a:pos x="20" y="208"/>
                  </a:cxn>
                </a:cxnLst>
                <a:rect l="0" t="0" r="r" b="b"/>
                <a:pathLst>
                  <a:path w="20" h="208">
                    <a:moveTo>
                      <a:pt x="20" y="208"/>
                    </a:moveTo>
                    <a:lnTo>
                      <a:pt x="0" y="0"/>
                    </a:lnTo>
                    <a:lnTo>
                      <a:pt x="18" y="208"/>
                    </a:lnTo>
                    <a:lnTo>
                      <a:pt x="20" y="20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4" name="Freeform 3014"/>
              <p:cNvSpPr>
                <a:spLocks/>
              </p:cNvSpPr>
              <p:nvPr/>
            </p:nvSpPr>
            <p:spPr bwMode="auto">
              <a:xfrm>
                <a:off x="6093295" y="3534261"/>
                <a:ext cx="473062" cy="766155"/>
              </a:xfrm>
              <a:custGeom>
                <a:avLst/>
                <a:gdLst/>
                <a:ahLst/>
                <a:cxnLst>
                  <a:cxn ang="0">
                    <a:pos x="368" y="466"/>
                  </a:cxn>
                  <a:cxn ang="0">
                    <a:pos x="350" y="330"/>
                  </a:cxn>
                  <a:cxn ang="0">
                    <a:pos x="226" y="0"/>
                  </a:cxn>
                  <a:cxn ang="0">
                    <a:pos x="0" y="36"/>
                  </a:cxn>
                  <a:cxn ang="0">
                    <a:pos x="6" y="106"/>
                  </a:cxn>
                  <a:cxn ang="0">
                    <a:pos x="52" y="596"/>
                  </a:cxn>
                  <a:cxn ang="0">
                    <a:pos x="96" y="596"/>
                  </a:cxn>
                  <a:cxn ang="0">
                    <a:pos x="134" y="580"/>
                  </a:cxn>
                  <a:cxn ang="0">
                    <a:pos x="90" y="490"/>
                  </a:cxn>
                  <a:cxn ang="0">
                    <a:pos x="368" y="466"/>
                  </a:cxn>
                </a:cxnLst>
                <a:rect l="0" t="0" r="r" b="b"/>
                <a:pathLst>
                  <a:path w="368" h="596">
                    <a:moveTo>
                      <a:pt x="368" y="466"/>
                    </a:moveTo>
                    <a:lnTo>
                      <a:pt x="350" y="330"/>
                    </a:lnTo>
                    <a:lnTo>
                      <a:pt x="226" y="0"/>
                    </a:lnTo>
                    <a:lnTo>
                      <a:pt x="0" y="36"/>
                    </a:lnTo>
                    <a:lnTo>
                      <a:pt x="6" y="106"/>
                    </a:lnTo>
                    <a:lnTo>
                      <a:pt x="52" y="596"/>
                    </a:lnTo>
                    <a:lnTo>
                      <a:pt x="96" y="596"/>
                    </a:lnTo>
                    <a:lnTo>
                      <a:pt x="134" y="580"/>
                    </a:lnTo>
                    <a:lnTo>
                      <a:pt x="90" y="490"/>
                    </a:lnTo>
                    <a:lnTo>
                      <a:pt x="368" y="46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5" name="Freeform 3015"/>
              <p:cNvSpPr>
                <a:spLocks/>
              </p:cNvSpPr>
              <p:nvPr/>
            </p:nvSpPr>
            <p:spPr bwMode="auto">
              <a:xfrm>
                <a:off x="6689765" y="3521406"/>
                <a:ext cx="69417" cy="48849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52" y="4"/>
                  </a:cxn>
                  <a:cxn ang="0">
                    <a:pos x="52" y="38"/>
                  </a:cxn>
                  <a:cxn ang="0">
                    <a:pos x="54" y="0"/>
                  </a:cxn>
                  <a:cxn ang="0">
                    <a:pos x="0" y="6"/>
                  </a:cxn>
                </a:cxnLst>
                <a:rect l="0" t="0" r="r" b="b"/>
                <a:pathLst>
                  <a:path w="54" h="38">
                    <a:moveTo>
                      <a:pt x="0" y="6"/>
                    </a:moveTo>
                    <a:lnTo>
                      <a:pt x="52" y="4"/>
                    </a:lnTo>
                    <a:lnTo>
                      <a:pt x="52" y="38"/>
                    </a:lnTo>
                    <a:lnTo>
                      <a:pt x="54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6" name="Freeform 3016"/>
              <p:cNvSpPr>
                <a:spLocks/>
              </p:cNvSpPr>
              <p:nvPr/>
            </p:nvSpPr>
            <p:spPr bwMode="auto">
              <a:xfrm>
                <a:off x="6689765" y="3475128"/>
                <a:ext cx="69417" cy="53991"/>
              </a:xfrm>
              <a:custGeom>
                <a:avLst/>
                <a:gdLst/>
                <a:ahLst/>
                <a:cxnLst>
                  <a:cxn ang="0">
                    <a:pos x="6" y="40"/>
                  </a:cxn>
                  <a:cxn ang="0">
                    <a:pos x="22" y="0"/>
                  </a:cxn>
                  <a:cxn ang="0">
                    <a:pos x="0" y="42"/>
                  </a:cxn>
                  <a:cxn ang="0">
                    <a:pos x="54" y="36"/>
                  </a:cxn>
                  <a:cxn ang="0">
                    <a:pos x="6" y="40"/>
                  </a:cxn>
                </a:cxnLst>
                <a:rect l="0" t="0" r="r" b="b"/>
                <a:pathLst>
                  <a:path w="54" h="42">
                    <a:moveTo>
                      <a:pt x="6" y="40"/>
                    </a:moveTo>
                    <a:lnTo>
                      <a:pt x="22" y="0"/>
                    </a:lnTo>
                    <a:lnTo>
                      <a:pt x="0" y="42"/>
                    </a:lnTo>
                    <a:lnTo>
                      <a:pt x="54" y="36"/>
                    </a:lnTo>
                    <a:lnTo>
                      <a:pt x="6" y="4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7" name="Freeform 3017"/>
              <p:cNvSpPr>
                <a:spLocks/>
              </p:cNvSpPr>
              <p:nvPr/>
            </p:nvSpPr>
            <p:spPr bwMode="auto">
              <a:xfrm>
                <a:off x="6756610" y="3521406"/>
                <a:ext cx="339371" cy="33422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38"/>
                  </a:cxn>
                  <a:cxn ang="0">
                    <a:pos x="264" y="260"/>
                  </a:cxn>
                  <a:cxn ang="0">
                    <a:pos x="2" y="36"/>
                  </a:cxn>
                  <a:cxn ang="0">
                    <a:pos x="2" y="0"/>
                  </a:cxn>
                </a:cxnLst>
                <a:rect l="0" t="0" r="r" b="b"/>
                <a:pathLst>
                  <a:path w="264" h="260">
                    <a:moveTo>
                      <a:pt x="2" y="0"/>
                    </a:moveTo>
                    <a:lnTo>
                      <a:pt x="0" y="38"/>
                    </a:lnTo>
                    <a:lnTo>
                      <a:pt x="264" y="260"/>
                    </a:lnTo>
                    <a:lnTo>
                      <a:pt x="2" y="36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8" name="Freeform 3018"/>
              <p:cNvSpPr>
                <a:spLocks/>
              </p:cNvSpPr>
              <p:nvPr/>
            </p:nvSpPr>
            <p:spPr bwMode="auto">
              <a:xfrm>
                <a:off x="6689765" y="3457131"/>
                <a:ext cx="35994" cy="71988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2" y="2"/>
                  </a:cxn>
                  <a:cxn ang="0">
                    <a:pos x="0" y="56"/>
                  </a:cxn>
                  <a:cxn ang="0">
                    <a:pos x="22" y="14"/>
                  </a:cxn>
                  <a:cxn ang="0">
                    <a:pos x="28" y="0"/>
                  </a:cxn>
                </a:cxnLst>
                <a:rect l="0" t="0" r="r" b="b"/>
                <a:pathLst>
                  <a:path w="28" h="56">
                    <a:moveTo>
                      <a:pt x="28" y="0"/>
                    </a:moveTo>
                    <a:lnTo>
                      <a:pt x="22" y="2"/>
                    </a:lnTo>
                    <a:lnTo>
                      <a:pt x="0" y="56"/>
                    </a:lnTo>
                    <a:lnTo>
                      <a:pt x="22" y="14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199" name="Freeform 3019"/>
              <p:cNvSpPr>
                <a:spLocks/>
              </p:cNvSpPr>
              <p:nvPr/>
            </p:nvSpPr>
            <p:spPr bwMode="auto">
              <a:xfrm>
                <a:off x="6697478" y="3369718"/>
                <a:ext cx="563047" cy="485917"/>
              </a:xfrm>
              <a:custGeom>
                <a:avLst/>
                <a:gdLst/>
                <a:ahLst/>
                <a:cxnLst>
                  <a:cxn ang="0">
                    <a:pos x="0" y="122"/>
                  </a:cxn>
                  <a:cxn ang="0">
                    <a:pos x="48" y="118"/>
                  </a:cxn>
                  <a:cxn ang="0">
                    <a:pos x="48" y="154"/>
                  </a:cxn>
                  <a:cxn ang="0">
                    <a:pos x="310" y="378"/>
                  </a:cxn>
                  <a:cxn ang="0">
                    <a:pos x="422" y="176"/>
                  </a:cxn>
                  <a:cxn ang="0">
                    <a:pos x="438" y="104"/>
                  </a:cxn>
                  <a:cxn ang="0">
                    <a:pos x="306" y="16"/>
                  </a:cxn>
                  <a:cxn ang="0">
                    <a:pos x="224" y="32"/>
                  </a:cxn>
                  <a:cxn ang="0">
                    <a:pos x="194" y="0"/>
                  </a:cxn>
                  <a:cxn ang="0">
                    <a:pos x="24" y="66"/>
                  </a:cxn>
                  <a:cxn ang="0">
                    <a:pos x="16" y="82"/>
                  </a:cxn>
                  <a:cxn ang="0">
                    <a:pos x="0" y="122"/>
                  </a:cxn>
                </a:cxnLst>
                <a:rect l="0" t="0" r="r" b="b"/>
                <a:pathLst>
                  <a:path w="438" h="378">
                    <a:moveTo>
                      <a:pt x="0" y="122"/>
                    </a:moveTo>
                    <a:lnTo>
                      <a:pt x="48" y="118"/>
                    </a:lnTo>
                    <a:lnTo>
                      <a:pt x="48" y="154"/>
                    </a:lnTo>
                    <a:lnTo>
                      <a:pt x="310" y="378"/>
                    </a:lnTo>
                    <a:lnTo>
                      <a:pt x="422" y="176"/>
                    </a:lnTo>
                    <a:lnTo>
                      <a:pt x="438" y="104"/>
                    </a:lnTo>
                    <a:lnTo>
                      <a:pt x="306" y="16"/>
                    </a:lnTo>
                    <a:lnTo>
                      <a:pt x="224" y="32"/>
                    </a:lnTo>
                    <a:lnTo>
                      <a:pt x="194" y="0"/>
                    </a:lnTo>
                    <a:lnTo>
                      <a:pt x="24" y="66"/>
                    </a:lnTo>
                    <a:lnTo>
                      <a:pt x="16" y="82"/>
                    </a:lnTo>
                    <a:lnTo>
                      <a:pt x="0" y="12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0" name="Freeform 3020"/>
              <p:cNvSpPr>
                <a:spLocks/>
              </p:cNvSpPr>
              <p:nvPr/>
            </p:nvSpPr>
            <p:spPr bwMode="auto">
              <a:xfrm>
                <a:off x="6574070" y="4087024"/>
                <a:ext cx="411359" cy="107982"/>
              </a:xfrm>
              <a:custGeom>
                <a:avLst/>
                <a:gdLst/>
                <a:ahLst/>
                <a:cxnLst>
                  <a:cxn ang="0">
                    <a:pos x="278" y="42"/>
                  </a:cxn>
                  <a:cxn ang="0">
                    <a:pos x="320" y="56"/>
                  </a:cxn>
                  <a:cxn ang="0">
                    <a:pos x="314" y="0"/>
                  </a:cxn>
                  <a:cxn ang="0">
                    <a:pos x="314" y="48"/>
                  </a:cxn>
                  <a:cxn ang="0">
                    <a:pos x="280" y="36"/>
                  </a:cxn>
                  <a:cxn ang="0">
                    <a:pos x="18" y="78"/>
                  </a:cxn>
                  <a:cxn ang="0">
                    <a:pos x="0" y="54"/>
                  </a:cxn>
                  <a:cxn ang="0">
                    <a:pos x="18" y="84"/>
                  </a:cxn>
                  <a:cxn ang="0">
                    <a:pos x="278" y="42"/>
                  </a:cxn>
                </a:cxnLst>
                <a:rect l="0" t="0" r="r" b="b"/>
                <a:pathLst>
                  <a:path w="320" h="84">
                    <a:moveTo>
                      <a:pt x="278" y="42"/>
                    </a:moveTo>
                    <a:lnTo>
                      <a:pt x="320" y="56"/>
                    </a:lnTo>
                    <a:lnTo>
                      <a:pt x="314" y="0"/>
                    </a:lnTo>
                    <a:lnTo>
                      <a:pt x="314" y="48"/>
                    </a:lnTo>
                    <a:lnTo>
                      <a:pt x="280" y="36"/>
                    </a:lnTo>
                    <a:lnTo>
                      <a:pt x="18" y="78"/>
                    </a:lnTo>
                    <a:lnTo>
                      <a:pt x="0" y="54"/>
                    </a:lnTo>
                    <a:lnTo>
                      <a:pt x="18" y="84"/>
                    </a:lnTo>
                    <a:lnTo>
                      <a:pt x="278" y="4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1" name="Freeform 3021"/>
              <p:cNvSpPr>
                <a:spLocks/>
              </p:cNvSpPr>
              <p:nvPr/>
            </p:nvSpPr>
            <p:spPr bwMode="auto">
              <a:xfrm>
                <a:off x="6977716" y="4084453"/>
                <a:ext cx="89985" cy="514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70" y="4"/>
                  </a:cxn>
                  <a:cxn ang="0">
                    <a:pos x="70" y="0"/>
                  </a:cxn>
                  <a:cxn ang="0">
                    <a:pos x="0" y="2"/>
                  </a:cxn>
                </a:cxnLst>
                <a:rect l="0" t="0" r="r" b="b"/>
                <a:pathLst>
                  <a:path w="70" h="4">
                    <a:moveTo>
                      <a:pt x="0" y="2"/>
                    </a:moveTo>
                    <a:lnTo>
                      <a:pt x="70" y="4"/>
                    </a:lnTo>
                    <a:lnTo>
                      <a:pt x="7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2" name="Freeform 3022"/>
              <p:cNvSpPr>
                <a:spLocks/>
              </p:cNvSpPr>
              <p:nvPr/>
            </p:nvSpPr>
            <p:spPr bwMode="auto">
              <a:xfrm>
                <a:off x="6977716" y="4087024"/>
                <a:ext cx="89985" cy="71988"/>
              </a:xfrm>
              <a:custGeom>
                <a:avLst/>
                <a:gdLst/>
                <a:ahLst/>
                <a:cxnLst>
                  <a:cxn ang="0">
                    <a:pos x="6" y="56"/>
                  </a:cxn>
                  <a:cxn ang="0">
                    <a:pos x="6" y="6"/>
                  </a:cxn>
                  <a:cxn ang="0">
                    <a:pos x="70" y="6"/>
                  </a:cxn>
                  <a:cxn ang="0">
                    <a:pos x="70" y="2"/>
                  </a:cxn>
                  <a:cxn ang="0">
                    <a:pos x="0" y="0"/>
                  </a:cxn>
                  <a:cxn ang="0">
                    <a:pos x="6" y="56"/>
                  </a:cxn>
                </a:cxnLst>
                <a:rect l="0" t="0" r="r" b="b"/>
                <a:pathLst>
                  <a:path w="70" h="56">
                    <a:moveTo>
                      <a:pt x="6" y="56"/>
                    </a:moveTo>
                    <a:lnTo>
                      <a:pt x="6" y="6"/>
                    </a:lnTo>
                    <a:lnTo>
                      <a:pt x="70" y="6"/>
                    </a:lnTo>
                    <a:lnTo>
                      <a:pt x="70" y="2"/>
                    </a:lnTo>
                    <a:lnTo>
                      <a:pt x="0" y="0"/>
                    </a:lnTo>
                    <a:lnTo>
                      <a:pt x="6" y="5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3" name="Freeform 3023"/>
              <p:cNvSpPr>
                <a:spLocks/>
              </p:cNvSpPr>
              <p:nvPr/>
            </p:nvSpPr>
            <p:spPr bwMode="auto">
              <a:xfrm>
                <a:off x="6566357" y="4141015"/>
                <a:ext cx="30852" cy="53991"/>
              </a:xfrm>
              <a:custGeom>
                <a:avLst/>
                <a:gdLst/>
                <a:ahLst/>
                <a:cxnLst>
                  <a:cxn ang="0">
                    <a:pos x="24" y="42"/>
                  </a:cxn>
                  <a:cxn ang="0">
                    <a:pos x="6" y="12"/>
                  </a:cxn>
                  <a:cxn ang="0">
                    <a:pos x="0" y="0"/>
                  </a:cxn>
                  <a:cxn ang="0">
                    <a:pos x="2" y="12"/>
                  </a:cxn>
                  <a:cxn ang="0">
                    <a:pos x="24" y="42"/>
                  </a:cxn>
                </a:cxnLst>
                <a:rect l="0" t="0" r="r" b="b"/>
                <a:pathLst>
                  <a:path w="24" h="42">
                    <a:moveTo>
                      <a:pt x="24" y="42"/>
                    </a:moveTo>
                    <a:lnTo>
                      <a:pt x="6" y="12"/>
                    </a:lnTo>
                    <a:lnTo>
                      <a:pt x="0" y="0"/>
                    </a:lnTo>
                    <a:lnTo>
                      <a:pt x="2" y="12"/>
                    </a:lnTo>
                    <a:lnTo>
                      <a:pt x="24" y="4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4" name="Freeform 3024"/>
              <p:cNvSpPr>
                <a:spLocks/>
              </p:cNvSpPr>
              <p:nvPr/>
            </p:nvSpPr>
            <p:spPr bwMode="auto">
              <a:xfrm>
                <a:off x="6214131" y="4166725"/>
                <a:ext cx="56562" cy="110553"/>
              </a:xfrm>
              <a:custGeom>
                <a:avLst/>
                <a:gdLst/>
                <a:ahLst/>
                <a:cxnLst>
                  <a:cxn ang="0">
                    <a:pos x="44" y="86"/>
                  </a:cxn>
                  <a:cxn ang="0">
                    <a:pos x="44" y="86"/>
                  </a:cxn>
                  <a:cxn ang="0">
                    <a:pos x="0" y="0"/>
                  </a:cxn>
                  <a:cxn ang="0">
                    <a:pos x="44" y="86"/>
                  </a:cxn>
                </a:cxnLst>
                <a:rect l="0" t="0" r="r" b="b"/>
                <a:pathLst>
                  <a:path w="44" h="86">
                    <a:moveTo>
                      <a:pt x="44" y="86"/>
                    </a:moveTo>
                    <a:lnTo>
                      <a:pt x="44" y="86"/>
                    </a:lnTo>
                    <a:lnTo>
                      <a:pt x="0" y="0"/>
                    </a:lnTo>
                    <a:lnTo>
                      <a:pt x="44" y="8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5" name="Freeform 3025"/>
              <p:cNvSpPr>
                <a:spLocks/>
              </p:cNvSpPr>
              <p:nvPr/>
            </p:nvSpPr>
            <p:spPr bwMode="auto">
              <a:xfrm>
                <a:off x="6391530" y="3454560"/>
                <a:ext cx="701881" cy="732732"/>
              </a:xfrm>
              <a:custGeom>
                <a:avLst/>
                <a:gdLst/>
                <a:ahLst/>
                <a:cxnLst>
                  <a:cxn ang="0">
                    <a:pos x="422" y="528"/>
                  </a:cxn>
                  <a:cxn ang="0">
                    <a:pos x="456" y="540"/>
                  </a:cxn>
                  <a:cxn ang="0">
                    <a:pos x="456" y="492"/>
                  </a:cxn>
                  <a:cxn ang="0">
                    <a:pos x="526" y="490"/>
                  </a:cxn>
                  <a:cxn ang="0">
                    <a:pos x="526" y="494"/>
                  </a:cxn>
                  <a:cxn ang="0">
                    <a:pos x="526" y="494"/>
                  </a:cxn>
                  <a:cxn ang="0">
                    <a:pos x="512" y="378"/>
                  </a:cxn>
                  <a:cxn ang="0">
                    <a:pos x="546" y="314"/>
                  </a:cxn>
                  <a:cxn ang="0">
                    <a:pos x="284" y="90"/>
                  </a:cxn>
                  <a:cxn ang="0">
                    <a:pos x="284" y="56"/>
                  </a:cxn>
                  <a:cxn ang="0">
                    <a:pos x="232" y="58"/>
                  </a:cxn>
                  <a:cxn ang="0">
                    <a:pos x="254" y="4"/>
                  </a:cxn>
                  <a:cxn ang="0">
                    <a:pos x="260" y="2"/>
                  </a:cxn>
                  <a:cxn ang="0">
                    <a:pos x="254" y="16"/>
                  </a:cxn>
                  <a:cxn ang="0">
                    <a:pos x="262" y="0"/>
                  </a:cxn>
                  <a:cxn ang="0">
                    <a:pos x="182" y="30"/>
                  </a:cxn>
                  <a:cxn ang="0">
                    <a:pos x="0" y="60"/>
                  </a:cxn>
                  <a:cxn ang="0">
                    <a:pos x="120" y="390"/>
                  </a:cxn>
                  <a:cxn ang="0">
                    <a:pos x="142" y="546"/>
                  </a:cxn>
                  <a:cxn ang="0">
                    <a:pos x="160" y="570"/>
                  </a:cxn>
                  <a:cxn ang="0">
                    <a:pos x="422" y="528"/>
                  </a:cxn>
                </a:cxnLst>
                <a:rect l="0" t="0" r="r" b="b"/>
                <a:pathLst>
                  <a:path w="546" h="570">
                    <a:moveTo>
                      <a:pt x="422" y="528"/>
                    </a:moveTo>
                    <a:lnTo>
                      <a:pt x="456" y="540"/>
                    </a:lnTo>
                    <a:lnTo>
                      <a:pt x="456" y="492"/>
                    </a:lnTo>
                    <a:lnTo>
                      <a:pt x="526" y="490"/>
                    </a:lnTo>
                    <a:lnTo>
                      <a:pt x="526" y="494"/>
                    </a:lnTo>
                    <a:lnTo>
                      <a:pt x="526" y="494"/>
                    </a:lnTo>
                    <a:lnTo>
                      <a:pt x="512" y="378"/>
                    </a:lnTo>
                    <a:lnTo>
                      <a:pt x="546" y="314"/>
                    </a:lnTo>
                    <a:lnTo>
                      <a:pt x="284" y="90"/>
                    </a:lnTo>
                    <a:lnTo>
                      <a:pt x="284" y="56"/>
                    </a:lnTo>
                    <a:lnTo>
                      <a:pt x="232" y="58"/>
                    </a:lnTo>
                    <a:lnTo>
                      <a:pt x="254" y="4"/>
                    </a:lnTo>
                    <a:lnTo>
                      <a:pt x="260" y="2"/>
                    </a:lnTo>
                    <a:lnTo>
                      <a:pt x="254" y="16"/>
                    </a:lnTo>
                    <a:lnTo>
                      <a:pt x="262" y="0"/>
                    </a:lnTo>
                    <a:lnTo>
                      <a:pt x="182" y="30"/>
                    </a:lnTo>
                    <a:lnTo>
                      <a:pt x="0" y="60"/>
                    </a:lnTo>
                    <a:lnTo>
                      <a:pt x="120" y="390"/>
                    </a:lnTo>
                    <a:lnTo>
                      <a:pt x="142" y="546"/>
                    </a:lnTo>
                    <a:lnTo>
                      <a:pt x="160" y="570"/>
                    </a:lnTo>
                    <a:lnTo>
                      <a:pt x="422" y="52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6" name="Freeform 3026"/>
              <p:cNvSpPr>
                <a:spLocks/>
              </p:cNvSpPr>
              <p:nvPr/>
            </p:nvSpPr>
            <p:spPr bwMode="auto">
              <a:xfrm>
                <a:off x="6214131" y="4089595"/>
                <a:ext cx="1190369" cy="856140"/>
              </a:xfrm>
              <a:custGeom>
                <a:avLst/>
                <a:gdLst/>
                <a:ahLst/>
                <a:cxnLst>
                  <a:cxn ang="0">
                    <a:pos x="896" y="342"/>
                  </a:cxn>
                  <a:cxn ang="0">
                    <a:pos x="808" y="232"/>
                  </a:cxn>
                  <a:cxn ang="0">
                    <a:pos x="808" y="182"/>
                  </a:cxn>
                  <a:cxn ang="0">
                    <a:pos x="668" y="20"/>
                  </a:cxn>
                  <a:cxn ang="0">
                    <a:pos x="664" y="0"/>
                  </a:cxn>
                  <a:cxn ang="0">
                    <a:pos x="664" y="0"/>
                  </a:cxn>
                  <a:cxn ang="0">
                    <a:pos x="664" y="4"/>
                  </a:cxn>
                  <a:cxn ang="0">
                    <a:pos x="600" y="4"/>
                  </a:cxn>
                  <a:cxn ang="0">
                    <a:pos x="600" y="54"/>
                  </a:cxn>
                  <a:cxn ang="0">
                    <a:pos x="558" y="40"/>
                  </a:cxn>
                  <a:cxn ang="0">
                    <a:pos x="298" y="82"/>
                  </a:cxn>
                  <a:cxn ang="0">
                    <a:pos x="276" y="52"/>
                  </a:cxn>
                  <a:cxn ang="0">
                    <a:pos x="274" y="40"/>
                  </a:cxn>
                  <a:cxn ang="0">
                    <a:pos x="0" y="60"/>
                  </a:cxn>
                  <a:cxn ang="0">
                    <a:pos x="44" y="146"/>
                  </a:cxn>
                  <a:cxn ang="0">
                    <a:pos x="132" y="108"/>
                  </a:cxn>
                  <a:cxn ang="0">
                    <a:pos x="242" y="154"/>
                  </a:cxn>
                  <a:cxn ang="0">
                    <a:pos x="242" y="192"/>
                  </a:cxn>
                  <a:cxn ang="0">
                    <a:pos x="298" y="192"/>
                  </a:cxn>
                  <a:cxn ang="0">
                    <a:pos x="380" y="128"/>
                  </a:cxn>
                  <a:cxn ang="0">
                    <a:pos x="558" y="206"/>
                  </a:cxn>
                  <a:cxn ang="0">
                    <a:pos x="558" y="368"/>
                  </a:cxn>
                  <a:cxn ang="0">
                    <a:pos x="598" y="382"/>
                  </a:cxn>
                  <a:cxn ang="0">
                    <a:pos x="638" y="478"/>
                  </a:cxn>
                  <a:cxn ang="0">
                    <a:pos x="776" y="584"/>
                  </a:cxn>
                  <a:cxn ang="0">
                    <a:pos x="776" y="626"/>
                  </a:cxn>
                  <a:cxn ang="0">
                    <a:pos x="830" y="666"/>
                  </a:cxn>
                  <a:cxn ang="0">
                    <a:pos x="886" y="610"/>
                  </a:cxn>
                  <a:cxn ang="0">
                    <a:pos x="916" y="610"/>
                  </a:cxn>
                  <a:cxn ang="0">
                    <a:pos x="926" y="518"/>
                  </a:cxn>
                  <a:cxn ang="0">
                    <a:pos x="896" y="342"/>
                  </a:cxn>
                </a:cxnLst>
                <a:rect l="0" t="0" r="r" b="b"/>
                <a:pathLst>
                  <a:path w="926" h="666">
                    <a:moveTo>
                      <a:pt x="896" y="342"/>
                    </a:moveTo>
                    <a:lnTo>
                      <a:pt x="808" y="232"/>
                    </a:lnTo>
                    <a:lnTo>
                      <a:pt x="808" y="182"/>
                    </a:lnTo>
                    <a:lnTo>
                      <a:pt x="668" y="20"/>
                    </a:lnTo>
                    <a:lnTo>
                      <a:pt x="664" y="0"/>
                    </a:lnTo>
                    <a:lnTo>
                      <a:pt x="664" y="0"/>
                    </a:lnTo>
                    <a:lnTo>
                      <a:pt x="664" y="4"/>
                    </a:lnTo>
                    <a:lnTo>
                      <a:pt x="600" y="4"/>
                    </a:lnTo>
                    <a:lnTo>
                      <a:pt x="600" y="54"/>
                    </a:lnTo>
                    <a:lnTo>
                      <a:pt x="558" y="40"/>
                    </a:lnTo>
                    <a:lnTo>
                      <a:pt x="298" y="82"/>
                    </a:lnTo>
                    <a:lnTo>
                      <a:pt x="276" y="52"/>
                    </a:lnTo>
                    <a:lnTo>
                      <a:pt x="274" y="40"/>
                    </a:lnTo>
                    <a:lnTo>
                      <a:pt x="0" y="60"/>
                    </a:lnTo>
                    <a:lnTo>
                      <a:pt x="44" y="146"/>
                    </a:lnTo>
                    <a:lnTo>
                      <a:pt x="132" y="108"/>
                    </a:lnTo>
                    <a:lnTo>
                      <a:pt x="242" y="154"/>
                    </a:lnTo>
                    <a:lnTo>
                      <a:pt x="242" y="192"/>
                    </a:lnTo>
                    <a:lnTo>
                      <a:pt x="298" y="192"/>
                    </a:lnTo>
                    <a:lnTo>
                      <a:pt x="380" y="128"/>
                    </a:lnTo>
                    <a:lnTo>
                      <a:pt x="558" y="206"/>
                    </a:lnTo>
                    <a:lnTo>
                      <a:pt x="558" y="368"/>
                    </a:lnTo>
                    <a:lnTo>
                      <a:pt x="598" y="382"/>
                    </a:lnTo>
                    <a:lnTo>
                      <a:pt x="638" y="478"/>
                    </a:lnTo>
                    <a:lnTo>
                      <a:pt x="776" y="584"/>
                    </a:lnTo>
                    <a:lnTo>
                      <a:pt x="776" y="626"/>
                    </a:lnTo>
                    <a:lnTo>
                      <a:pt x="830" y="666"/>
                    </a:lnTo>
                    <a:lnTo>
                      <a:pt x="886" y="610"/>
                    </a:lnTo>
                    <a:lnTo>
                      <a:pt x="916" y="610"/>
                    </a:lnTo>
                    <a:lnTo>
                      <a:pt x="926" y="518"/>
                    </a:lnTo>
                    <a:lnTo>
                      <a:pt x="896" y="34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7" name="Freeform 3027"/>
              <p:cNvSpPr>
                <a:spLocks/>
              </p:cNvSpPr>
              <p:nvPr/>
            </p:nvSpPr>
            <p:spPr bwMode="auto">
              <a:xfrm>
                <a:off x="7353080" y="1575166"/>
                <a:ext cx="131121" cy="460207"/>
              </a:xfrm>
              <a:custGeom>
                <a:avLst/>
                <a:gdLst/>
                <a:ahLst/>
                <a:cxnLst>
                  <a:cxn ang="0">
                    <a:pos x="40" y="1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38" y="132"/>
                  </a:cxn>
                  <a:cxn ang="0">
                    <a:pos x="102" y="358"/>
                  </a:cxn>
                  <a:cxn ang="0">
                    <a:pos x="80" y="276"/>
                  </a:cxn>
                  <a:cxn ang="0">
                    <a:pos x="40" y="132"/>
                  </a:cxn>
                </a:cxnLst>
                <a:rect l="0" t="0" r="r" b="b"/>
                <a:pathLst>
                  <a:path w="102" h="358">
                    <a:moveTo>
                      <a:pt x="40" y="13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38" y="132"/>
                    </a:lnTo>
                    <a:lnTo>
                      <a:pt x="102" y="358"/>
                    </a:lnTo>
                    <a:lnTo>
                      <a:pt x="80" y="276"/>
                    </a:lnTo>
                    <a:lnTo>
                      <a:pt x="40" y="13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8" name="Freeform 3028"/>
              <p:cNvSpPr>
                <a:spLocks/>
              </p:cNvSpPr>
              <p:nvPr/>
            </p:nvSpPr>
            <p:spPr bwMode="auto">
              <a:xfrm>
                <a:off x="7484201" y="2035373"/>
                <a:ext cx="79701" cy="17482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" y="84"/>
                  </a:cxn>
                  <a:cxn ang="0">
                    <a:pos x="62" y="136"/>
                  </a:cxn>
                  <a:cxn ang="0">
                    <a:pos x="12" y="82"/>
                  </a:cxn>
                  <a:cxn ang="0">
                    <a:pos x="0" y="0"/>
                  </a:cxn>
                </a:cxnLst>
                <a:rect l="0" t="0" r="r" b="b"/>
                <a:pathLst>
                  <a:path w="62" h="136">
                    <a:moveTo>
                      <a:pt x="0" y="0"/>
                    </a:moveTo>
                    <a:lnTo>
                      <a:pt x="10" y="84"/>
                    </a:lnTo>
                    <a:lnTo>
                      <a:pt x="62" y="136"/>
                    </a:lnTo>
                    <a:lnTo>
                      <a:pt x="12" y="8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09" name="Freeform 3029"/>
              <p:cNvSpPr>
                <a:spLocks/>
              </p:cNvSpPr>
              <p:nvPr/>
            </p:nvSpPr>
            <p:spPr bwMode="auto">
              <a:xfrm>
                <a:off x="6705191" y="2313040"/>
                <a:ext cx="97698" cy="25967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6"/>
                  </a:cxn>
                  <a:cxn ang="0">
                    <a:pos x="6" y="24"/>
                  </a:cxn>
                  <a:cxn ang="0">
                    <a:pos x="74" y="202"/>
                  </a:cxn>
                  <a:cxn ang="0">
                    <a:pos x="76" y="200"/>
                  </a:cxn>
                  <a:cxn ang="0">
                    <a:pos x="2" y="0"/>
                  </a:cxn>
                </a:cxnLst>
                <a:rect l="0" t="0" r="r" b="b"/>
                <a:pathLst>
                  <a:path w="76" h="202">
                    <a:moveTo>
                      <a:pt x="2" y="0"/>
                    </a:moveTo>
                    <a:lnTo>
                      <a:pt x="0" y="6"/>
                    </a:lnTo>
                    <a:lnTo>
                      <a:pt x="6" y="24"/>
                    </a:lnTo>
                    <a:lnTo>
                      <a:pt x="74" y="202"/>
                    </a:lnTo>
                    <a:lnTo>
                      <a:pt x="76" y="20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0" name="Freeform 3030"/>
              <p:cNvSpPr>
                <a:spLocks/>
              </p:cNvSpPr>
              <p:nvPr/>
            </p:nvSpPr>
            <p:spPr bwMode="auto">
              <a:xfrm>
                <a:off x="6661484" y="2585565"/>
                <a:ext cx="503914" cy="455065"/>
              </a:xfrm>
              <a:custGeom>
                <a:avLst/>
                <a:gdLst/>
                <a:ahLst/>
                <a:cxnLst>
                  <a:cxn ang="0">
                    <a:pos x="6" y="268"/>
                  </a:cxn>
                  <a:cxn ang="0">
                    <a:pos x="0" y="264"/>
                  </a:cxn>
                  <a:cxn ang="0">
                    <a:pos x="10" y="298"/>
                  </a:cxn>
                  <a:cxn ang="0">
                    <a:pos x="62" y="320"/>
                  </a:cxn>
                  <a:cxn ang="0">
                    <a:pos x="62" y="320"/>
                  </a:cxn>
                  <a:cxn ang="0">
                    <a:pos x="64" y="322"/>
                  </a:cxn>
                  <a:cxn ang="0">
                    <a:pos x="136" y="354"/>
                  </a:cxn>
                  <a:cxn ang="0">
                    <a:pos x="206" y="312"/>
                  </a:cxn>
                  <a:cxn ang="0">
                    <a:pos x="236" y="148"/>
                  </a:cxn>
                  <a:cxn ang="0">
                    <a:pos x="266" y="172"/>
                  </a:cxn>
                  <a:cxn ang="0">
                    <a:pos x="294" y="102"/>
                  </a:cxn>
                  <a:cxn ang="0">
                    <a:pos x="336" y="40"/>
                  </a:cxn>
                  <a:cxn ang="0">
                    <a:pos x="376" y="40"/>
                  </a:cxn>
                  <a:cxn ang="0">
                    <a:pos x="392" y="18"/>
                  </a:cxn>
                  <a:cxn ang="0">
                    <a:pos x="346" y="8"/>
                  </a:cxn>
                  <a:cxn ang="0">
                    <a:pos x="240" y="64"/>
                  </a:cxn>
                  <a:cxn ang="0">
                    <a:pos x="214" y="18"/>
                  </a:cxn>
                  <a:cxn ang="0">
                    <a:pos x="126" y="48"/>
                  </a:cxn>
                  <a:cxn ang="0">
                    <a:pos x="110" y="0"/>
                  </a:cxn>
                  <a:cxn ang="0">
                    <a:pos x="98" y="76"/>
                  </a:cxn>
                  <a:cxn ang="0">
                    <a:pos x="6" y="268"/>
                  </a:cxn>
                </a:cxnLst>
                <a:rect l="0" t="0" r="r" b="b"/>
                <a:pathLst>
                  <a:path w="392" h="354">
                    <a:moveTo>
                      <a:pt x="6" y="268"/>
                    </a:moveTo>
                    <a:lnTo>
                      <a:pt x="0" y="264"/>
                    </a:lnTo>
                    <a:lnTo>
                      <a:pt x="10" y="298"/>
                    </a:lnTo>
                    <a:lnTo>
                      <a:pt x="62" y="320"/>
                    </a:lnTo>
                    <a:lnTo>
                      <a:pt x="62" y="320"/>
                    </a:lnTo>
                    <a:lnTo>
                      <a:pt x="64" y="322"/>
                    </a:lnTo>
                    <a:lnTo>
                      <a:pt x="136" y="354"/>
                    </a:lnTo>
                    <a:lnTo>
                      <a:pt x="206" y="312"/>
                    </a:lnTo>
                    <a:lnTo>
                      <a:pt x="236" y="148"/>
                    </a:lnTo>
                    <a:lnTo>
                      <a:pt x="266" y="172"/>
                    </a:lnTo>
                    <a:lnTo>
                      <a:pt x="294" y="102"/>
                    </a:lnTo>
                    <a:lnTo>
                      <a:pt x="336" y="40"/>
                    </a:lnTo>
                    <a:lnTo>
                      <a:pt x="376" y="40"/>
                    </a:lnTo>
                    <a:lnTo>
                      <a:pt x="392" y="18"/>
                    </a:lnTo>
                    <a:lnTo>
                      <a:pt x="346" y="8"/>
                    </a:lnTo>
                    <a:lnTo>
                      <a:pt x="240" y="64"/>
                    </a:lnTo>
                    <a:lnTo>
                      <a:pt x="214" y="18"/>
                    </a:lnTo>
                    <a:lnTo>
                      <a:pt x="126" y="48"/>
                    </a:lnTo>
                    <a:lnTo>
                      <a:pt x="110" y="0"/>
                    </a:lnTo>
                    <a:lnTo>
                      <a:pt x="98" y="76"/>
                    </a:lnTo>
                    <a:lnTo>
                      <a:pt x="6" y="26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1" name="Freeform 3031"/>
              <p:cNvSpPr>
                <a:spLocks/>
              </p:cNvSpPr>
              <p:nvPr/>
            </p:nvSpPr>
            <p:spPr bwMode="auto">
              <a:xfrm>
                <a:off x="6661484" y="2922365"/>
                <a:ext cx="7713" cy="77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6" y="6"/>
                  </a:cxn>
                  <a:cxn ang="0">
                    <a:pos x="0" y="0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lnTo>
                      <a:pt x="0" y="2"/>
                    </a:lnTo>
                    <a:lnTo>
                      <a:pt x="6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2" name="Freeform 3032"/>
              <p:cNvSpPr>
                <a:spLocks/>
              </p:cNvSpPr>
              <p:nvPr/>
            </p:nvSpPr>
            <p:spPr bwMode="auto">
              <a:xfrm>
                <a:off x="6787462" y="2582994"/>
                <a:ext cx="15426" cy="100269"/>
              </a:xfrm>
              <a:custGeom>
                <a:avLst/>
                <a:gdLst/>
                <a:ahLst/>
                <a:cxnLst>
                  <a:cxn ang="0">
                    <a:pos x="0" y="78"/>
                  </a:cxn>
                  <a:cxn ang="0">
                    <a:pos x="12" y="2"/>
                  </a:cxn>
                  <a:cxn ang="0">
                    <a:pos x="10" y="0"/>
                  </a:cxn>
                  <a:cxn ang="0">
                    <a:pos x="0" y="78"/>
                  </a:cxn>
                </a:cxnLst>
                <a:rect l="0" t="0" r="r" b="b"/>
                <a:pathLst>
                  <a:path w="12" h="78">
                    <a:moveTo>
                      <a:pt x="0" y="78"/>
                    </a:moveTo>
                    <a:lnTo>
                      <a:pt x="12" y="2"/>
                    </a:lnTo>
                    <a:lnTo>
                      <a:pt x="10" y="0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3" name="Freeform 3033"/>
              <p:cNvSpPr>
                <a:spLocks/>
              </p:cNvSpPr>
              <p:nvPr/>
            </p:nvSpPr>
            <p:spPr bwMode="auto">
              <a:xfrm>
                <a:off x="6669197" y="2683263"/>
                <a:ext cx="118266" cy="246815"/>
              </a:xfrm>
              <a:custGeom>
                <a:avLst/>
                <a:gdLst/>
                <a:ahLst/>
                <a:cxnLst>
                  <a:cxn ang="0">
                    <a:pos x="58" y="60"/>
                  </a:cxn>
                  <a:cxn ang="0">
                    <a:pos x="0" y="192"/>
                  </a:cxn>
                  <a:cxn ang="0">
                    <a:pos x="92" y="0"/>
                  </a:cxn>
                  <a:cxn ang="0">
                    <a:pos x="58" y="60"/>
                  </a:cxn>
                </a:cxnLst>
                <a:rect l="0" t="0" r="r" b="b"/>
                <a:pathLst>
                  <a:path w="92" h="192">
                    <a:moveTo>
                      <a:pt x="58" y="60"/>
                    </a:moveTo>
                    <a:lnTo>
                      <a:pt x="0" y="192"/>
                    </a:lnTo>
                    <a:lnTo>
                      <a:pt x="92" y="0"/>
                    </a:lnTo>
                    <a:lnTo>
                      <a:pt x="58" y="6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4" name="Freeform 3034"/>
              <p:cNvSpPr>
                <a:spLocks/>
              </p:cNvSpPr>
              <p:nvPr/>
            </p:nvSpPr>
            <p:spPr bwMode="auto">
              <a:xfrm>
                <a:off x="6800317" y="2572711"/>
                <a:ext cx="2571" cy="7713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6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5" name="Freeform 3035"/>
              <p:cNvSpPr>
                <a:spLocks/>
              </p:cNvSpPr>
              <p:nvPr/>
            </p:nvSpPr>
            <p:spPr bwMode="auto">
              <a:xfrm>
                <a:off x="6286119" y="2315611"/>
                <a:ext cx="509056" cy="601612"/>
              </a:xfrm>
              <a:custGeom>
                <a:avLst/>
                <a:gdLst/>
                <a:ahLst/>
                <a:cxnLst>
                  <a:cxn ang="0">
                    <a:pos x="282" y="50"/>
                  </a:cxn>
                  <a:cxn ang="0">
                    <a:pos x="234" y="78"/>
                  </a:cxn>
                  <a:cxn ang="0">
                    <a:pos x="206" y="104"/>
                  </a:cxn>
                  <a:cxn ang="0">
                    <a:pos x="142" y="84"/>
                  </a:cxn>
                  <a:cxn ang="0">
                    <a:pos x="0" y="128"/>
                  </a:cxn>
                  <a:cxn ang="0">
                    <a:pos x="66" y="422"/>
                  </a:cxn>
                  <a:cxn ang="0">
                    <a:pos x="172" y="460"/>
                  </a:cxn>
                  <a:cxn ang="0">
                    <a:pos x="264" y="448"/>
                  </a:cxn>
                  <a:cxn ang="0">
                    <a:pos x="298" y="468"/>
                  </a:cxn>
                  <a:cxn ang="0">
                    <a:pos x="354" y="344"/>
                  </a:cxn>
                  <a:cxn ang="0">
                    <a:pos x="386" y="284"/>
                  </a:cxn>
                  <a:cxn ang="0">
                    <a:pos x="396" y="200"/>
                  </a:cxn>
                  <a:cxn ang="0">
                    <a:pos x="332" y="22"/>
                  </a:cxn>
                  <a:cxn ang="0">
                    <a:pos x="324" y="0"/>
                  </a:cxn>
                  <a:cxn ang="0">
                    <a:pos x="282" y="50"/>
                  </a:cxn>
                </a:cxnLst>
                <a:rect l="0" t="0" r="r" b="b"/>
                <a:pathLst>
                  <a:path w="396" h="468">
                    <a:moveTo>
                      <a:pt x="282" y="50"/>
                    </a:moveTo>
                    <a:lnTo>
                      <a:pt x="234" y="78"/>
                    </a:lnTo>
                    <a:lnTo>
                      <a:pt x="206" y="104"/>
                    </a:lnTo>
                    <a:lnTo>
                      <a:pt x="142" y="84"/>
                    </a:lnTo>
                    <a:lnTo>
                      <a:pt x="0" y="128"/>
                    </a:lnTo>
                    <a:lnTo>
                      <a:pt x="66" y="422"/>
                    </a:lnTo>
                    <a:lnTo>
                      <a:pt x="172" y="460"/>
                    </a:lnTo>
                    <a:lnTo>
                      <a:pt x="264" y="448"/>
                    </a:lnTo>
                    <a:lnTo>
                      <a:pt x="298" y="468"/>
                    </a:lnTo>
                    <a:lnTo>
                      <a:pt x="354" y="344"/>
                    </a:lnTo>
                    <a:lnTo>
                      <a:pt x="386" y="284"/>
                    </a:lnTo>
                    <a:lnTo>
                      <a:pt x="396" y="200"/>
                    </a:lnTo>
                    <a:lnTo>
                      <a:pt x="332" y="22"/>
                    </a:lnTo>
                    <a:lnTo>
                      <a:pt x="324" y="0"/>
                    </a:lnTo>
                    <a:lnTo>
                      <a:pt x="282" y="5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6" name="Freeform 3036"/>
              <p:cNvSpPr>
                <a:spLocks/>
              </p:cNvSpPr>
              <p:nvPr/>
            </p:nvSpPr>
            <p:spPr bwMode="auto">
              <a:xfrm>
                <a:off x="7353080" y="1575166"/>
                <a:ext cx="131121" cy="460207"/>
              </a:xfrm>
              <a:custGeom>
                <a:avLst/>
                <a:gdLst/>
                <a:ahLst/>
                <a:cxnLst>
                  <a:cxn ang="0">
                    <a:pos x="40" y="1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38" y="132"/>
                  </a:cxn>
                  <a:cxn ang="0">
                    <a:pos x="102" y="358"/>
                  </a:cxn>
                  <a:cxn ang="0">
                    <a:pos x="80" y="276"/>
                  </a:cxn>
                  <a:cxn ang="0">
                    <a:pos x="40" y="132"/>
                  </a:cxn>
                </a:cxnLst>
                <a:rect l="0" t="0" r="r" b="b"/>
                <a:pathLst>
                  <a:path w="102" h="358">
                    <a:moveTo>
                      <a:pt x="40" y="13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38" y="132"/>
                    </a:lnTo>
                    <a:lnTo>
                      <a:pt x="102" y="358"/>
                    </a:lnTo>
                    <a:lnTo>
                      <a:pt x="80" y="276"/>
                    </a:lnTo>
                    <a:lnTo>
                      <a:pt x="40" y="13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7" name="Freeform 3037"/>
              <p:cNvSpPr>
                <a:spLocks/>
              </p:cNvSpPr>
              <p:nvPr/>
            </p:nvSpPr>
            <p:spPr bwMode="auto">
              <a:xfrm>
                <a:off x="7484201" y="2035373"/>
                <a:ext cx="79701" cy="17482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" y="84"/>
                  </a:cxn>
                  <a:cxn ang="0">
                    <a:pos x="62" y="136"/>
                  </a:cxn>
                  <a:cxn ang="0">
                    <a:pos x="12" y="82"/>
                  </a:cxn>
                  <a:cxn ang="0">
                    <a:pos x="0" y="0"/>
                  </a:cxn>
                </a:cxnLst>
                <a:rect l="0" t="0" r="r" b="b"/>
                <a:pathLst>
                  <a:path w="62" h="136">
                    <a:moveTo>
                      <a:pt x="0" y="0"/>
                    </a:moveTo>
                    <a:lnTo>
                      <a:pt x="10" y="84"/>
                    </a:lnTo>
                    <a:lnTo>
                      <a:pt x="62" y="136"/>
                    </a:lnTo>
                    <a:lnTo>
                      <a:pt x="12" y="8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8" name="Freeform 3038"/>
              <p:cNvSpPr>
                <a:spLocks/>
              </p:cNvSpPr>
              <p:nvPr/>
            </p:nvSpPr>
            <p:spPr bwMode="auto">
              <a:xfrm>
                <a:off x="6815743" y="2122787"/>
                <a:ext cx="606754" cy="334229"/>
              </a:xfrm>
              <a:custGeom>
                <a:avLst/>
                <a:gdLst/>
                <a:ahLst/>
                <a:cxnLst>
                  <a:cxn ang="0">
                    <a:pos x="472" y="190"/>
                  </a:cxn>
                  <a:cxn ang="0">
                    <a:pos x="434" y="138"/>
                  </a:cxn>
                  <a:cxn ang="0">
                    <a:pos x="444" y="68"/>
                  </a:cxn>
                  <a:cxn ang="0">
                    <a:pos x="364" y="0"/>
                  </a:cxn>
                  <a:cxn ang="0">
                    <a:pos x="0" y="120"/>
                  </a:cxn>
                  <a:cxn ang="0">
                    <a:pos x="364" y="4"/>
                  </a:cxn>
                  <a:cxn ang="0">
                    <a:pos x="440" y="70"/>
                  </a:cxn>
                  <a:cxn ang="0">
                    <a:pos x="430" y="138"/>
                  </a:cxn>
                  <a:cxn ang="0">
                    <a:pos x="470" y="190"/>
                  </a:cxn>
                  <a:cxn ang="0">
                    <a:pos x="442" y="260"/>
                  </a:cxn>
                  <a:cxn ang="0">
                    <a:pos x="444" y="258"/>
                  </a:cxn>
                  <a:cxn ang="0">
                    <a:pos x="472" y="190"/>
                  </a:cxn>
                </a:cxnLst>
                <a:rect l="0" t="0" r="r" b="b"/>
                <a:pathLst>
                  <a:path w="472" h="260">
                    <a:moveTo>
                      <a:pt x="472" y="190"/>
                    </a:moveTo>
                    <a:lnTo>
                      <a:pt x="434" y="138"/>
                    </a:lnTo>
                    <a:lnTo>
                      <a:pt x="444" y="68"/>
                    </a:lnTo>
                    <a:lnTo>
                      <a:pt x="364" y="0"/>
                    </a:lnTo>
                    <a:lnTo>
                      <a:pt x="0" y="120"/>
                    </a:lnTo>
                    <a:lnTo>
                      <a:pt x="364" y="4"/>
                    </a:lnTo>
                    <a:lnTo>
                      <a:pt x="440" y="70"/>
                    </a:lnTo>
                    <a:lnTo>
                      <a:pt x="430" y="138"/>
                    </a:lnTo>
                    <a:lnTo>
                      <a:pt x="470" y="190"/>
                    </a:lnTo>
                    <a:lnTo>
                      <a:pt x="442" y="260"/>
                    </a:lnTo>
                    <a:lnTo>
                      <a:pt x="444" y="258"/>
                    </a:lnTo>
                    <a:lnTo>
                      <a:pt x="472" y="19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19" name="Freeform 3039"/>
              <p:cNvSpPr>
                <a:spLocks/>
              </p:cNvSpPr>
              <p:nvPr/>
            </p:nvSpPr>
            <p:spPr bwMode="auto">
              <a:xfrm>
                <a:off x="6792604" y="2127929"/>
                <a:ext cx="491059" cy="154259"/>
              </a:xfrm>
              <a:custGeom>
                <a:avLst/>
                <a:gdLst/>
                <a:ahLst/>
                <a:cxnLst>
                  <a:cxn ang="0">
                    <a:pos x="0" y="72"/>
                  </a:cxn>
                  <a:cxn ang="0">
                    <a:pos x="16" y="120"/>
                  </a:cxn>
                  <a:cxn ang="0">
                    <a:pos x="382" y="0"/>
                  </a:cxn>
                  <a:cxn ang="0">
                    <a:pos x="18" y="116"/>
                  </a:cxn>
                  <a:cxn ang="0">
                    <a:pos x="2" y="70"/>
                  </a:cxn>
                  <a:cxn ang="0">
                    <a:pos x="0" y="72"/>
                  </a:cxn>
                </a:cxnLst>
                <a:rect l="0" t="0" r="r" b="b"/>
                <a:pathLst>
                  <a:path w="382" h="120">
                    <a:moveTo>
                      <a:pt x="0" y="72"/>
                    </a:moveTo>
                    <a:lnTo>
                      <a:pt x="16" y="120"/>
                    </a:lnTo>
                    <a:lnTo>
                      <a:pt x="382" y="0"/>
                    </a:lnTo>
                    <a:lnTo>
                      <a:pt x="18" y="116"/>
                    </a:lnTo>
                    <a:lnTo>
                      <a:pt x="2" y="70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0" name="Freeform 3040"/>
              <p:cNvSpPr>
                <a:spLocks/>
              </p:cNvSpPr>
              <p:nvPr/>
            </p:nvSpPr>
            <p:spPr bwMode="auto">
              <a:xfrm>
                <a:off x="7345367" y="2457016"/>
                <a:ext cx="161972" cy="215963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62" y="168"/>
                  </a:cxn>
                  <a:cxn ang="0">
                    <a:pos x="126" y="142"/>
                  </a:cxn>
                  <a:cxn ang="0">
                    <a:pos x="126" y="80"/>
                  </a:cxn>
                  <a:cxn ang="0">
                    <a:pos x="30" y="2"/>
                  </a:cxn>
                  <a:cxn ang="0">
                    <a:pos x="30" y="0"/>
                  </a:cxn>
                  <a:cxn ang="0">
                    <a:pos x="0" y="10"/>
                  </a:cxn>
                </a:cxnLst>
                <a:rect l="0" t="0" r="r" b="b"/>
                <a:pathLst>
                  <a:path w="126" h="168">
                    <a:moveTo>
                      <a:pt x="0" y="10"/>
                    </a:moveTo>
                    <a:lnTo>
                      <a:pt x="62" y="168"/>
                    </a:lnTo>
                    <a:lnTo>
                      <a:pt x="126" y="142"/>
                    </a:lnTo>
                    <a:lnTo>
                      <a:pt x="126" y="80"/>
                    </a:lnTo>
                    <a:lnTo>
                      <a:pt x="30" y="2"/>
                    </a:lnTo>
                    <a:lnTo>
                      <a:pt x="30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1" name="Freeform 3041"/>
              <p:cNvSpPr>
                <a:spLocks/>
              </p:cNvSpPr>
              <p:nvPr/>
            </p:nvSpPr>
            <p:spPr bwMode="auto">
              <a:xfrm>
                <a:off x="6702620" y="2127929"/>
                <a:ext cx="717307" cy="511627"/>
              </a:xfrm>
              <a:custGeom>
                <a:avLst/>
                <a:gdLst/>
                <a:ahLst/>
                <a:cxnLst>
                  <a:cxn ang="0">
                    <a:pos x="528" y="66"/>
                  </a:cxn>
                  <a:cxn ang="0">
                    <a:pos x="452" y="0"/>
                  </a:cxn>
                  <a:cxn ang="0">
                    <a:pos x="86" y="120"/>
                  </a:cxn>
                  <a:cxn ang="0">
                    <a:pos x="70" y="72"/>
                  </a:cxn>
                  <a:cxn ang="0">
                    <a:pos x="72" y="70"/>
                  </a:cxn>
                  <a:cxn ang="0">
                    <a:pos x="88" y="116"/>
                  </a:cxn>
                  <a:cxn ang="0">
                    <a:pos x="72" y="64"/>
                  </a:cxn>
                  <a:cxn ang="0">
                    <a:pos x="0" y="146"/>
                  </a:cxn>
                  <a:cxn ang="0">
                    <a:pos x="8" y="168"/>
                  </a:cxn>
                  <a:cxn ang="0">
                    <a:pos x="2" y="150"/>
                  </a:cxn>
                  <a:cxn ang="0">
                    <a:pos x="4" y="144"/>
                  </a:cxn>
                  <a:cxn ang="0">
                    <a:pos x="78" y="344"/>
                  </a:cxn>
                  <a:cxn ang="0">
                    <a:pos x="76" y="346"/>
                  </a:cxn>
                  <a:cxn ang="0">
                    <a:pos x="78" y="348"/>
                  </a:cxn>
                  <a:cxn ang="0">
                    <a:pos x="96" y="398"/>
                  </a:cxn>
                  <a:cxn ang="0">
                    <a:pos x="182" y="372"/>
                  </a:cxn>
                  <a:cxn ang="0">
                    <a:pos x="180" y="372"/>
                  </a:cxn>
                  <a:cxn ang="0">
                    <a:pos x="498" y="262"/>
                  </a:cxn>
                  <a:cxn ang="0">
                    <a:pos x="498" y="262"/>
                  </a:cxn>
                  <a:cxn ang="0">
                    <a:pos x="498" y="262"/>
                  </a:cxn>
                  <a:cxn ang="0">
                    <a:pos x="528" y="252"/>
                  </a:cxn>
                  <a:cxn ang="0">
                    <a:pos x="558" y="186"/>
                  </a:cxn>
                  <a:cxn ang="0">
                    <a:pos x="518" y="134"/>
                  </a:cxn>
                  <a:cxn ang="0">
                    <a:pos x="528" y="66"/>
                  </a:cxn>
                </a:cxnLst>
                <a:rect l="0" t="0" r="r" b="b"/>
                <a:pathLst>
                  <a:path w="558" h="398">
                    <a:moveTo>
                      <a:pt x="528" y="66"/>
                    </a:moveTo>
                    <a:lnTo>
                      <a:pt x="452" y="0"/>
                    </a:lnTo>
                    <a:lnTo>
                      <a:pt x="86" y="120"/>
                    </a:lnTo>
                    <a:lnTo>
                      <a:pt x="70" y="72"/>
                    </a:lnTo>
                    <a:lnTo>
                      <a:pt x="72" y="70"/>
                    </a:lnTo>
                    <a:lnTo>
                      <a:pt x="88" y="116"/>
                    </a:lnTo>
                    <a:lnTo>
                      <a:pt x="72" y="64"/>
                    </a:lnTo>
                    <a:lnTo>
                      <a:pt x="0" y="146"/>
                    </a:lnTo>
                    <a:lnTo>
                      <a:pt x="8" y="168"/>
                    </a:lnTo>
                    <a:lnTo>
                      <a:pt x="2" y="150"/>
                    </a:lnTo>
                    <a:lnTo>
                      <a:pt x="4" y="144"/>
                    </a:lnTo>
                    <a:lnTo>
                      <a:pt x="78" y="344"/>
                    </a:lnTo>
                    <a:lnTo>
                      <a:pt x="76" y="346"/>
                    </a:lnTo>
                    <a:lnTo>
                      <a:pt x="78" y="348"/>
                    </a:lnTo>
                    <a:lnTo>
                      <a:pt x="96" y="398"/>
                    </a:lnTo>
                    <a:lnTo>
                      <a:pt x="182" y="372"/>
                    </a:lnTo>
                    <a:lnTo>
                      <a:pt x="180" y="372"/>
                    </a:lnTo>
                    <a:lnTo>
                      <a:pt x="498" y="262"/>
                    </a:lnTo>
                    <a:lnTo>
                      <a:pt x="498" y="262"/>
                    </a:lnTo>
                    <a:lnTo>
                      <a:pt x="498" y="262"/>
                    </a:lnTo>
                    <a:lnTo>
                      <a:pt x="528" y="252"/>
                    </a:lnTo>
                    <a:lnTo>
                      <a:pt x="558" y="186"/>
                    </a:lnTo>
                    <a:lnTo>
                      <a:pt x="518" y="134"/>
                    </a:lnTo>
                    <a:lnTo>
                      <a:pt x="528" y="6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2" name="Freeform 3042"/>
              <p:cNvSpPr>
                <a:spLocks/>
              </p:cNvSpPr>
              <p:nvPr/>
            </p:nvSpPr>
            <p:spPr bwMode="auto">
              <a:xfrm>
                <a:off x="7353080" y="1575166"/>
                <a:ext cx="131121" cy="460207"/>
              </a:xfrm>
              <a:custGeom>
                <a:avLst/>
                <a:gdLst/>
                <a:ahLst/>
                <a:cxnLst>
                  <a:cxn ang="0">
                    <a:pos x="40" y="1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38" y="132"/>
                  </a:cxn>
                  <a:cxn ang="0">
                    <a:pos x="102" y="358"/>
                  </a:cxn>
                  <a:cxn ang="0">
                    <a:pos x="80" y="276"/>
                  </a:cxn>
                  <a:cxn ang="0">
                    <a:pos x="40" y="132"/>
                  </a:cxn>
                </a:cxnLst>
                <a:rect l="0" t="0" r="r" b="b"/>
                <a:pathLst>
                  <a:path w="102" h="358">
                    <a:moveTo>
                      <a:pt x="40" y="13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38" y="132"/>
                    </a:lnTo>
                    <a:lnTo>
                      <a:pt x="102" y="358"/>
                    </a:lnTo>
                    <a:lnTo>
                      <a:pt x="80" y="276"/>
                    </a:lnTo>
                    <a:lnTo>
                      <a:pt x="40" y="13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3" name="Freeform 3043"/>
              <p:cNvSpPr>
                <a:spLocks/>
              </p:cNvSpPr>
              <p:nvPr/>
            </p:nvSpPr>
            <p:spPr bwMode="auto">
              <a:xfrm>
                <a:off x="7391645" y="2210201"/>
                <a:ext cx="95127" cy="23139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74" y="18"/>
                  </a:cxn>
                  <a:cxn ang="0">
                    <a:pos x="14" y="4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74" h="18">
                    <a:moveTo>
                      <a:pt x="0" y="2"/>
                    </a:moveTo>
                    <a:lnTo>
                      <a:pt x="74" y="18"/>
                    </a:lnTo>
                    <a:lnTo>
                      <a:pt x="14" y="4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4" name="Freeform 3044"/>
              <p:cNvSpPr>
                <a:spLocks/>
              </p:cNvSpPr>
              <p:nvPr/>
            </p:nvSpPr>
            <p:spPr bwMode="auto">
              <a:xfrm>
                <a:off x="7484201" y="2035373"/>
                <a:ext cx="79701" cy="17482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" y="84"/>
                  </a:cxn>
                  <a:cxn ang="0">
                    <a:pos x="62" y="136"/>
                  </a:cxn>
                  <a:cxn ang="0">
                    <a:pos x="12" y="82"/>
                  </a:cxn>
                  <a:cxn ang="0">
                    <a:pos x="0" y="0"/>
                  </a:cxn>
                </a:cxnLst>
                <a:rect l="0" t="0" r="r" b="b"/>
                <a:pathLst>
                  <a:path w="62" h="136">
                    <a:moveTo>
                      <a:pt x="0" y="0"/>
                    </a:moveTo>
                    <a:lnTo>
                      <a:pt x="10" y="84"/>
                    </a:lnTo>
                    <a:lnTo>
                      <a:pt x="62" y="136"/>
                    </a:lnTo>
                    <a:lnTo>
                      <a:pt x="12" y="8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5" name="Freeform 3045"/>
              <p:cNvSpPr>
                <a:spLocks/>
              </p:cNvSpPr>
              <p:nvPr/>
            </p:nvSpPr>
            <p:spPr bwMode="auto">
              <a:xfrm>
                <a:off x="7486772" y="2233340"/>
                <a:ext cx="64275" cy="17997"/>
              </a:xfrm>
              <a:custGeom>
                <a:avLst/>
                <a:gdLst/>
                <a:ahLst/>
                <a:cxnLst>
                  <a:cxn ang="0">
                    <a:pos x="50" y="12"/>
                  </a:cxn>
                  <a:cxn ang="0">
                    <a:pos x="0" y="0"/>
                  </a:cxn>
                  <a:cxn ang="0">
                    <a:pos x="50" y="14"/>
                  </a:cxn>
                  <a:cxn ang="0">
                    <a:pos x="50" y="12"/>
                  </a:cxn>
                </a:cxnLst>
                <a:rect l="0" t="0" r="r" b="b"/>
                <a:pathLst>
                  <a:path w="50" h="14">
                    <a:moveTo>
                      <a:pt x="50" y="12"/>
                    </a:moveTo>
                    <a:lnTo>
                      <a:pt x="0" y="0"/>
                    </a:lnTo>
                    <a:lnTo>
                      <a:pt x="50" y="14"/>
                    </a:lnTo>
                    <a:lnTo>
                      <a:pt x="50" y="1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6" name="Freeform 3046"/>
              <p:cNvSpPr>
                <a:spLocks/>
              </p:cNvSpPr>
              <p:nvPr/>
            </p:nvSpPr>
            <p:spPr bwMode="auto">
              <a:xfrm>
                <a:off x="7373648" y="2207630"/>
                <a:ext cx="177398" cy="344513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0" y="72"/>
                  </a:cxn>
                  <a:cxn ang="0">
                    <a:pos x="38" y="124"/>
                  </a:cxn>
                  <a:cxn ang="0">
                    <a:pos x="10" y="192"/>
                  </a:cxn>
                  <a:cxn ang="0">
                    <a:pos x="8" y="194"/>
                  </a:cxn>
                  <a:cxn ang="0">
                    <a:pos x="8" y="196"/>
                  </a:cxn>
                  <a:cxn ang="0">
                    <a:pos x="10" y="194"/>
                  </a:cxn>
                  <a:cxn ang="0">
                    <a:pos x="104" y="268"/>
                  </a:cxn>
                  <a:cxn ang="0">
                    <a:pos x="104" y="226"/>
                  </a:cxn>
                  <a:cxn ang="0">
                    <a:pos x="134" y="80"/>
                  </a:cxn>
                  <a:cxn ang="0">
                    <a:pos x="104" y="56"/>
                  </a:cxn>
                  <a:cxn ang="0">
                    <a:pos x="136" y="40"/>
                  </a:cxn>
                  <a:cxn ang="0">
                    <a:pos x="138" y="34"/>
                  </a:cxn>
                  <a:cxn ang="0">
                    <a:pos x="88" y="20"/>
                  </a:cxn>
                  <a:cxn ang="0">
                    <a:pos x="14" y="4"/>
                  </a:cxn>
                  <a:cxn ang="0">
                    <a:pos x="14" y="2"/>
                  </a:cxn>
                  <a:cxn ang="0">
                    <a:pos x="28" y="6"/>
                  </a:cxn>
                  <a:cxn ang="0">
                    <a:pos x="6" y="0"/>
                  </a:cxn>
                  <a:cxn ang="0">
                    <a:pos x="10" y="2"/>
                  </a:cxn>
                </a:cxnLst>
                <a:rect l="0" t="0" r="r" b="b"/>
                <a:pathLst>
                  <a:path w="138" h="268">
                    <a:moveTo>
                      <a:pt x="10" y="2"/>
                    </a:moveTo>
                    <a:lnTo>
                      <a:pt x="0" y="72"/>
                    </a:lnTo>
                    <a:lnTo>
                      <a:pt x="38" y="124"/>
                    </a:lnTo>
                    <a:lnTo>
                      <a:pt x="10" y="192"/>
                    </a:lnTo>
                    <a:lnTo>
                      <a:pt x="8" y="194"/>
                    </a:lnTo>
                    <a:lnTo>
                      <a:pt x="8" y="196"/>
                    </a:lnTo>
                    <a:lnTo>
                      <a:pt x="10" y="194"/>
                    </a:lnTo>
                    <a:lnTo>
                      <a:pt x="104" y="268"/>
                    </a:lnTo>
                    <a:lnTo>
                      <a:pt x="104" y="226"/>
                    </a:lnTo>
                    <a:lnTo>
                      <a:pt x="134" y="80"/>
                    </a:lnTo>
                    <a:lnTo>
                      <a:pt x="104" y="56"/>
                    </a:lnTo>
                    <a:lnTo>
                      <a:pt x="136" y="40"/>
                    </a:lnTo>
                    <a:lnTo>
                      <a:pt x="138" y="34"/>
                    </a:lnTo>
                    <a:lnTo>
                      <a:pt x="88" y="20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28" y="6"/>
                    </a:lnTo>
                    <a:lnTo>
                      <a:pt x="6" y="0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7" name="Freeform 3047"/>
              <p:cNvSpPr>
                <a:spLocks/>
              </p:cNvSpPr>
              <p:nvPr/>
            </p:nvSpPr>
            <p:spPr bwMode="auto">
              <a:xfrm>
                <a:off x="7484201" y="2035373"/>
                <a:ext cx="15426" cy="105411"/>
              </a:xfrm>
              <a:custGeom>
                <a:avLst/>
                <a:gdLst/>
                <a:ahLst/>
                <a:cxnLst>
                  <a:cxn ang="0">
                    <a:pos x="12" y="82"/>
                  </a:cxn>
                  <a:cxn ang="0">
                    <a:pos x="0" y="0"/>
                  </a:cxn>
                  <a:cxn ang="0">
                    <a:pos x="6" y="58"/>
                  </a:cxn>
                  <a:cxn ang="0">
                    <a:pos x="12" y="82"/>
                  </a:cxn>
                </a:cxnLst>
                <a:rect l="0" t="0" r="r" b="b"/>
                <a:pathLst>
                  <a:path w="12" h="82">
                    <a:moveTo>
                      <a:pt x="12" y="82"/>
                    </a:moveTo>
                    <a:lnTo>
                      <a:pt x="0" y="0"/>
                    </a:lnTo>
                    <a:lnTo>
                      <a:pt x="6" y="58"/>
                    </a:lnTo>
                    <a:lnTo>
                      <a:pt x="12" y="8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8" name="Freeform 3048"/>
              <p:cNvSpPr>
                <a:spLocks/>
              </p:cNvSpPr>
              <p:nvPr/>
            </p:nvSpPr>
            <p:spPr bwMode="auto">
              <a:xfrm>
                <a:off x="7353080" y="1575166"/>
                <a:ext cx="131121" cy="460207"/>
              </a:xfrm>
              <a:custGeom>
                <a:avLst/>
                <a:gdLst/>
                <a:ahLst/>
                <a:cxnLst>
                  <a:cxn ang="0">
                    <a:pos x="38" y="132"/>
                  </a:cxn>
                  <a:cxn ang="0">
                    <a:pos x="102" y="358"/>
                  </a:cxn>
                  <a:cxn ang="0">
                    <a:pos x="80" y="276"/>
                  </a:cxn>
                  <a:cxn ang="0">
                    <a:pos x="40" y="1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8" y="34"/>
                  </a:cxn>
                  <a:cxn ang="0">
                    <a:pos x="38" y="132"/>
                  </a:cxn>
                </a:cxnLst>
                <a:rect l="0" t="0" r="r" b="b"/>
                <a:pathLst>
                  <a:path w="102" h="358">
                    <a:moveTo>
                      <a:pt x="38" y="132"/>
                    </a:moveTo>
                    <a:lnTo>
                      <a:pt x="102" y="358"/>
                    </a:lnTo>
                    <a:lnTo>
                      <a:pt x="80" y="276"/>
                    </a:lnTo>
                    <a:lnTo>
                      <a:pt x="40" y="13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8" y="34"/>
                    </a:lnTo>
                    <a:lnTo>
                      <a:pt x="38" y="132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29" name="Freeform 3049"/>
              <p:cNvSpPr>
                <a:spLocks/>
              </p:cNvSpPr>
              <p:nvPr/>
            </p:nvSpPr>
            <p:spPr bwMode="auto">
              <a:xfrm>
                <a:off x="7353080" y="1575166"/>
                <a:ext cx="10284" cy="43707"/>
              </a:xfrm>
              <a:custGeom>
                <a:avLst/>
                <a:gdLst/>
                <a:ahLst/>
                <a:cxnLst>
                  <a:cxn ang="0">
                    <a:pos x="8" y="34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8" y="34"/>
                  </a:cxn>
                </a:cxnLst>
                <a:rect l="0" t="0" r="r" b="b"/>
                <a:pathLst>
                  <a:path w="8" h="34">
                    <a:moveTo>
                      <a:pt x="8" y="3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8" y="3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30" name="Freeform 3050"/>
              <p:cNvSpPr>
                <a:spLocks/>
              </p:cNvSpPr>
              <p:nvPr/>
            </p:nvSpPr>
            <p:spPr bwMode="auto">
              <a:xfrm>
                <a:off x="7499627" y="2140784"/>
                <a:ext cx="64275" cy="69417"/>
              </a:xfrm>
              <a:custGeom>
                <a:avLst/>
                <a:gdLst/>
                <a:ahLst/>
                <a:cxnLst>
                  <a:cxn ang="0">
                    <a:pos x="50" y="54"/>
                  </a:cxn>
                  <a:cxn ang="0">
                    <a:pos x="0" y="0"/>
                  </a:cxn>
                  <a:cxn ang="0">
                    <a:pos x="46" y="50"/>
                  </a:cxn>
                  <a:cxn ang="0">
                    <a:pos x="50" y="54"/>
                  </a:cxn>
                </a:cxnLst>
                <a:rect l="0" t="0" r="r" b="b"/>
                <a:pathLst>
                  <a:path w="50" h="54">
                    <a:moveTo>
                      <a:pt x="50" y="54"/>
                    </a:moveTo>
                    <a:lnTo>
                      <a:pt x="0" y="0"/>
                    </a:lnTo>
                    <a:lnTo>
                      <a:pt x="46" y="50"/>
                    </a:lnTo>
                    <a:lnTo>
                      <a:pt x="50" y="54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31" name="Freeform 3051"/>
              <p:cNvSpPr>
                <a:spLocks/>
              </p:cNvSpPr>
              <p:nvPr/>
            </p:nvSpPr>
            <p:spPr bwMode="auto">
              <a:xfrm>
                <a:off x="7491914" y="2109932"/>
                <a:ext cx="66846" cy="95127"/>
              </a:xfrm>
              <a:custGeom>
                <a:avLst/>
                <a:gdLst/>
                <a:ahLst/>
                <a:cxnLst>
                  <a:cxn ang="0">
                    <a:pos x="4" y="26"/>
                  </a:cxn>
                  <a:cxn ang="0">
                    <a:pos x="52" y="74"/>
                  </a:cxn>
                  <a:cxn ang="0">
                    <a:pos x="6" y="24"/>
                  </a:cxn>
                  <a:cxn ang="0">
                    <a:pos x="0" y="0"/>
                  </a:cxn>
                  <a:cxn ang="0">
                    <a:pos x="4" y="26"/>
                  </a:cxn>
                </a:cxnLst>
                <a:rect l="0" t="0" r="r" b="b"/>
                <a:pathLst>
                  <a:path w="52" h="74">
                    <a:moveTo>
                      <a:pt x="4" y="26"/>
                    </a:moveTo>
                    <a:lnTo>
                      <a:pt x="52" y="74"/>
                    </a:lnTo>
                    <a:lnTo>
                      <a:pt x="6" y="24"/>
                    </a:lnTo>
                    <a:lnTo>
                      <a:pt x="0" y="0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32" name="Line 3080"/>
              <p:cNvSpPr>
                <a:spLocks noChangeShapeType="1"/>
              </p:cNvSpPr>
              <p:nvPr/>
            </p:nvSpPr>
            <p:spPr bwMode="auto">
              <a:xfrm>
                <a:off x="4392075" y="5253314"/>
                <a:ext cx="1286" cy="1286"/>
              </a:xfrm>
              <a:prstGeom prst="line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33" name="Line 3117"/>
              <p:cNvSpPr>
                <a:spLocks noChangeShapeType="1"/>
              </p:cNvSpPr>
              <p:nvPr/>
            </p:nvSpPr>
            <p:spPr bwMode="auto">
              <a:xfrm>
                <a:off x="7481174" y="1552665"/>
                <a:ext cx="1286" cy="1286"/>
              </a:xfrm>
              <a:prstGeom prst="line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34" name="Line 3118"/>
              <p:cNvSpPr>
                <a:spLocks noChangeShapeType="1"/>
              </p:cNvSpPr>
              <p:nvPr/>
            </p:nvSpPr>
            <p:spPr bwMode="auto">
              <a:xfrm>
                <a:off x="7481174" y="1552665"/>
                <a:ext cx="1286" cy="1286"/>
              </a:xfrm>
              <a:prstGeom prst="line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36" name="Line 3119"/>
              <p:cNvSpPr>
                <a:spLocks noChangeShapeType="1"/>
              </p:cNvSpPr>
              <p:nvPr/>
            </p:nvSpPr>
            <p:spPr bwMode="auto">
              <a:xfrm>
                <a:off x="7419466" y="2298310"/>
                <a:ext cx="1286" cy="1286"/>
              </a:xfrm>
              <a:prstGeom prst="line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238" name="Line 3120"/>
              <p:cNvSpPr>
                <a:spLocks noChangeShapeType="1"/>
              </p:cNvSpPr>
              <p:nvPr/>
            </p:nvSpPr>
            <p:spPr bwMode="auto">
              <a:xfrm>
                <a:off x="7733151" y="2115755"/>
                <a:ext cx="1286" cy="1286"/>
              </a:xfrm>
              <a:prstGeom prst="line">
                <a:avLst/>
              </a:prstGeom>
              <a:grpFill/>
              <a:ln w="12700" cmpd="sng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</p:grp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84344" y="4344437"/>
              <a:ext cx="193296" cy="193296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8848" y="3437759"/>
              <a:ext cx="190168" cy="190167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29760" y="3942949"/>
              <a:ext cx="190168" cy="190167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46281" y="3424934"/>
              <a:ext cx="190168" cy="190167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60937" y="4116545"/>
              <a:ext cx="190168" cy="190167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83997" y="3717925"/>
              <a:ext cx="193296" cy="193296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35374" y="4702873"/>
              <a:ext cx="193296" cy="193296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13194" y="3243988"/>
              <a:ext cx="193296" cy="193296"/>
            </a:xfrm>
            <a:prstGeom prst="rect">
              <a:avLst/>
            </a:prstGeom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5396" y="4332286"/>
              <a:ext cx="193296" cy="193296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6090" y="3593010"/>
              <a:ext cx="190168" cy="190167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91922" y="4677352"/>
              <a:ext cx="190168" cy="190167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93440" y="3813516"/>
              <a:ext cx="193296" cy="193296"/>
            </a:xfrm>
            <a:prstGeom prst="rect">
              <a:avLst/>
            </a:prstGeom>
          </p:spPr>
        </p:pic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80347" y="4257853"/>
              <a:ext cx="190168" cy="190168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2912" y="3904456"/>
              <a:ext cx="193296" cy="1932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1055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87" b="13402"/>
          <a:stretch/>
        </p:blipFill>
        <p:spPr>
          <a:xfrm>
            <a:off x="0" y="1107232"/>
            <a:ext cx="12192000" cy="576364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33769" y="130346"/>
            <a:ext cx="92287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4000" dirty="0" smtClean="0">
                <a:solidFill>
                  <a:srgbClr val="7499C6"/>
                </a:solidFill>
                <a:latin typeface="Calibri" panose="020F0502020204030204" pitchFamily="34" charset="0"/>
                <a:ea typeface="Always In My Heart" panose="02000603000000000000" pitchFamily="2" charset="0"/>
              </a:rPr>
              <a:t>Teaching is an expression of </a:t>
            </a:r>
            <a:r>
              <a:rPr lang="en-US" sz="6000" b="1" dirty="0" smtClean="0">
                <a:solidFill>
                  <a:srgbClr val="B30838"/>
                </a:solidFill>
                <a:latin typeface="Calibri" panose="020F0502020204030204" pitchFamily="34" charset="0"/>
                <a:ea typeface="Always In My Heart" panose="02000603000000000000" pitchFamily="2" charset="0"/>
              </a:rPr>
              <a:t>love</a:t>
            </a:r>
            <a:r>
              <a:rPr lang="en-US" sz="4000" b="1" dirty="0" smtClean="0">
                <a:solidFill>
                  <a:srgbClr val="B30838"/>
                </a:solidFill>
                <a:latin typeface="Calibri" panose="020F0502020204030204" pitchFamily="34" charset="0"/>
                <a:ea typeface="Always In My Heart" panose="02000603000000000000" pitchFamily="2" charset="0"/>
              </a:rPr>
              <a:t>.</a:t>
            </a:r>
            <a:endParaRPr lang="en-US" sz="4000" b="1" dirty="0">
              <a:solidFill>
                <a:srgbClr val="B30838"/>
              </a:solidFill>
              <a:latin typeface="Calibri" panose="020F0502020204030204" pitchFamily="34" charset="0"/>
              <a:ea typeface="Always In My Heart" panose="02000603000000000000" pitchFamily="2" charset="0"/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6</a:t>
            </a:fld>
            <a:endParaRPr dirty="0">
              <a:solidFill>
                <a:srgbClr val="81848A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059803" y="4197505"/>
            <a:ext cx="6072389" cy="1790163"/>
          </a:xfrm>
          <a:prstGeom prst="rect">
            <a:avLst/>
          </a:prstGeom>
          <a:solidFill>
            <a:srgbClr val="224A8D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896018" y="4446255"/>
            <a:ext cx="8399964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600" dirty="0">
                <a:solidFill>
                  <a:prstClr val="white"/>
                </a:solidFill>
                <a:latin typeface="Calibri" panose="020F0502020204030204" pitchFamily="34" charset="0"/>
              </a:rPr>
              <a:t>Every child needs a champion: </a:t>
            </a:r>
            <a:endParaRPr lang="en-US" sz="2600" dirty="0" smtClean="0">
              <a:solidFill>
                <a:prstClr val="white"/>
              </a:solidFill>
              <a:latin typeface="Calibri" panose="020F0502020204030204" pitchFamily="34" charset="0"/>
            </a:endParaRPr>
          </a:p>
          <a:p>
            <a:pPr algn="ctr"/>
            <a:r>
              <a:rPr lang="en-US" sz="2600" dirty="0" smtClean="0">
                <a:solidFill>
                  <a:prstClr val="white"/>
                </a:solidFill>
                <a:latin typeface="Calibri" panose="020F0502020204030204" pitchFamily="34" charset="0"/>
              </a:rPr>
              <a:t>Teachers </a:t>
            </a:r>
            <a:r>
              <a:rPr lang="en-US" sz="2600" dirty="0">
                <a:solidFill>
                  <a:prstClr val="white"/>
                </a:solidFill>
                <a:latin typeface="Calibri" panose="020F0502020204030204" pitchFamily="34" charset="0"/>
              </a:rPr>
              <a:t>are heroes serving students </a:t>
            </a:r>
            <a:endParaRPr lang="en-US" sz="2600" dirty="0" smtClean="0">
              <a:solidFill>
                <a:prstClr val="white"/>
              </a:solidFill>
              <a:latin typeface="Calibri" panose="020F0502020204030204" pitchFamily="34" charset="0"/>
            </a:endParaRPr>
          </a:p>
          <a:p>
            <a:pPr algn="ctr"/>
            <a:r>
              <a:rPr lang="en-US" sz="2600" dirty="0" smtClean="0">
                <a:solidFill>
                  <a:prstClr val="white"/>
                </a:solidFill>
                <a:latin typeface="Calibri" panose="020F0502020204030204" pitchFamily="34" charset="0"/>
              </a:rPr>
              <a:t>and </a:t>
            </a:r>
            <a:r>
              <a:rPr lang="en-US" sz="2600" dirty="0">
                <a:solidFill>
                  <a:prstClr val="white"/>
                </a:solidFill>
                <a:latin typeface="Calibri" panose="020F0502020204030204" pitchFamily="34" charset="0"/>
              </a:rPr>
              <a:t>their </a:t>
            </a:r>
            <a:r>
              <a:rPr lang="en-US" sz="2600" dirty="0" smtClean="0">
                <a:solidFill>
                  <a:prstClr val="white"/>
                </a:solidFill>
                <a:latin typeface="Calibri" panose="020F0502020204030204" pitchFamily="34" charset="0"/>
              </a:rPr>
              <a:t>communities.</a:t>
            </a:r>
            <a:endParaRPr lang="en-US" sz="26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2882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7" name="Oval 436"/>
          <p:cNvSpPr/>
          <p:nvPr/>
        </p:nvSpPr>
        <p:spPr>
          <a:xfrm>
            <a:off x="9943914" y="4511289"/>
            <a:ext cx="91440" cy="914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19" name="Oval 418"/>
          <p:cNvSpPr/>
          <p:nvPr/>
        </p:nvSpPr>
        <p:spPr>
          <a:xfrm>
            <a:off x="10402435" y="3757244"/>
            <a:ext cx="137160" cy="13716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707927" y="6509699"/>
            <a:ext cx="214796" cy="238523"/>
          </a:xfrm>
        </p:spPr>
        <p:txBody>
          <a:bodyPr lIns="76197" tIns="38098" rIns="76197" bIns="38098"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7</a:t>
            </a:fld>
            <a:endParaRPr>
              <a:solidFill>
                <a:srgbClr val="81848A"/>
              </a:solidFill>
            </a:endParaRPr>
          </a:p>
        </p:txBody>
      </p: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923333" y="957848"/>
            <a:ext cx="7056418" cy="4898027"/>
            <a:chOff x="1884582" y="1007573"/>
            <a:chExt cx="6118544" cy="4247027"/>
          </a:xfrm>
          <a:solidFill>
            <a:schemeClr val="bg1">
              <a:lumMod val="85000"/>
            </a:schemeClr>
          </a:solidFill>
        </p:grpSpPr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5854048" y="2868446"/>
              <a:ext cx="876663" cy="485892"/>
            </a:xfrm>
            <a:custGeom>
              <a:avLst/>
              <a:gdLst/>
              <a:ahLst/>
              <a:cxnLst>
                <a:cxn ang="0">
                  <a:pos x="630" y="82"/>
                </a:cxn>
                <a:cxn ang="0">
                  <a:pos x="616" y="40"/>
                </a:cxn>
                <a:cxn ang="0">
                  <a:pos x="592" y="24"/>
                </a:cxn>
                <a:cxn ang="0">
                  <a:pos x="502" y="36"/>
                </a:cxn>
                <a:cxn ang="0">
                  <a:pos x="396" y="0"/>
                </a:cxn>
                <a:cxn ang="0">
                  <a:pos x="400" y="12"/>
                </a:cxn>
                <a:cxn ang="0">
                  <a:pos x="360" y="52"/>
                </a:cxn>
                <a:cxn ang="0">
                  <a:pos x="310" y="162"/>
                </a:cxn>
                <a:cxn ang="0">
                  <a:pos x="280" y="148"/>
                </a:cxn>
                <a:cxn ang="0">
                  <a:pos x="200" y="204"/>
                </a:cxn>
                <a:cxn ang="0">
                  <a:pos x="176" y="188"/>
                </a:cxn>
                <a:cxn ang="0">
                  <a:pos x="122" y="232"/>
                </a:cxn>
                <a:cxn ang="0">
                  <a:pos x="122" y="228"/>
                </a:cxn>
                <a:cxn ang="0">
                  <a:pos x="176" y="184"/>
                </a:cxn>
                <a:cxn ang="0">
                  <a:pos x="122" y="224"/>
                </a:cxn>
                <a:cxn ang="0">
                  <a:pos x="118" y="256"/>
                </a:cxn>
                <a:cxn ang="0">
                  <a:pos x="76" y="312"/>
                </a:cxn>
                <a:cxn ang="0">
                  <a:pos x="26" y="286"/>
                </a:cxn>
                <a:cxn ang="0">
                  <a:pos x="4" y="330"/>
                </a:cxn>
                <a:cxn ang="0">
                  <a:pos x="0" y="322"/>
                </a:cxn>
                <a:cxn ang="0">
                  <a:pos x="6" y="378"/>
                </a:cxn>
                <a:cxn ang="0">
                  <a:pos x="26" y="376"/>
                </a:cxn>
                <a:cxn ang="0">
                  <a:pos x="306" y="330"/>
                </a:cxn>
                <a:cxn ang="0">
                  <a:pos x="568" y="276"/>
                </a:cxn>
                <a:cxn ang="0">
                  <a:pos x="632" y="202"/>
                </a:cxn>
                <a:cxn ang="0">
                  <a:pos x="682" y="104"/>
                </a:cxn>
                <a:cxn ang="0">
                  <a:pos x="630" y="82"/>
                </a:cxn>
              </a:cxnLst>
              <a:rect l="0" t="0" r="r" b="b"/>
              <a:pathLst>
                <a:path w="682" h="378">
                  <a:moveTo>
                    <a:pt x="630" y="82"/>
                  </a:moveTo>
                  <a:lnTo>
                    <a:pt x="616" y="40"/>
                  </a:lnTo>
                  <a:lnTo>
                    <a:pt x="592" y="24"/>
                  </a:lnTo>
                  <a:lnTo>
                    <a:pt x="502" y="36"/>
                  </a:lnTo>
                  <a:lnTo>
                    <a:pt x="396" y="0"/>
                  </a:lnTo>
                  <a:lnTo>
                    <a:pt x="400" y="12"/>
                  </a:lnTo>
                  <a:lnTo>
                    <a:pt x="360" y="52"/>
                  </a:lnTo>
                  <a:lnTo>
                    <a:pt x="310" y="162"/>
                  </a:lnTo>
                  <a:lnTo>
                    <a:pt x="280" y="148"/>
                  </a:lnTo>
                  <a:lnTo>
                    <a:pt x="200" y="204"/>
                  </a:lnTo>
                  <a:lnTo>
                    <a:pt x="176" y="188"/>
                  </a:lnTo>
                  <a:lnTo>
                    <a:pt x="122" y="232"/>
                  </a:lnTo>
                  <a:lnTo>
                    <a:pt x="122" y="228"/>
                  </a:lnTo>
                  <a:lnTo>
                    <a:pt x="176" y="184"/>
                  </a:lnTo>
                  <a:lnTo>
                    <a:pt x="122" y="224"/>
                  </a:lnTo>
                  <a:lnTo>
                    <a:pt x="118" y="256"/>
                  </a:lnTo>
                  <a:lnTo>
                    <a:pt x="76" y="312"/>
                  </a:lnTo>
                  <a:lnTo>
                    <a:pt x="26" y="286"/>
                  </a:lnTo>
                  <a:lnTo>
                    <a:pt x="4" y="330"/>
                  </a:lnTo>
                  <a:lnTo>
                    <a:pt x="0" y="322"/>
                  </a:lnTo>
                  <a:lnTo>
                    <a:pt x="6" y="378"/>
                  </a:lnTo>
                  <a:lnTo>
                    <a:pt x="26" y="376"/>
                  </a:lnTo>
                  <a:lnTo>
                    <a:pt x="306" y="330"/>
                  </a:lnTo>
                  <a:lnTo>
                    <a:pt x="568" y="276"/>
                  </a:lnTo>
                  <a:lnTo>
                    <a:pt x="632" y="202"/>
                  </a:lnTo>
                  <a:lnTo>
                    <a:pt x="682" y="104"/>
                  </a:lnTo>
                  <a:lnTo>
                    <a:pt x="630" y="8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1" name="Freeform 7"/>
            <p:cNvSpPr>
              <a:spLocks/>
            </p:cNvSpPr>
            <p:nvPr/>
          </p:nvSpPr>
          <p:spPr bwMode="auto">
            <a:xfrm>
              <a:off x="5115304" y="2820507"/>
              <a:ext cx="755833" cy="655569"/>
            </a:xfrm>
            <a:custGeom>
              <a:avLst/>
              <a:gdLst/>
              <a:ahLst/>
              <a:cxnLst>
                <a:cxn ang="0">
                  <a:pos x="556" y="278"/>
                </a:cxn>
                <a:cxn ang="0">
                  <a:pos x="476" y="220"/>
                </a:cxn>
                <a:cxn ang="0">
                  <a:pos x="476" y="140"/>
                </a:cxn>
                <a:cxn ang="0">
                  <a:pos x="444" y="140"/>
                </a:cxn>
                <a:cxn ang="0">
                  <a:pos x="346" y="14"/>
                </a:cxn>
                <a:cxn ang="0">
                  <a:pos x="346" y="0"/>
                </a:cxn>
                <a:cxn ang="0">
                  <a:pos x="0" y="8"/>
                </a:cxn>
                <a:cxn ang="0">
                  <a:pos x="22" y="70"/>
                </a:cxn>
                <a:cxn ang="0">
                  <a:pos x="68" y="70"/>
                </a:cxn>
                <a:cxn ang="0">
                  <a:pos x="50" y="136"/>
                </a:cxn>
                <a:cxn ang="0">
                  <a:pos x="104" y="160"/>
                </a:cxn>
                <a:cxn ang="0">
                  <a:pos x="132" y="470"/>
                </a:cxn>
                <a:cxn ang="0">
                  <a:pos x="522" y="462"/>
                </a:cxn>
                <a:cxn ang="0">
                  <a:pos x="506" y="510"/>
                </a:cxn>
                <a:cxn ang="0">
                  <a:pos x="586" y="504"/>
                </a:cxn>
                <a:cxn ang="0">
                  <a:pos x="586" y="410"/>
                </a:cxn>
                <a:cxn ang="0">
                  <a:pos x="588" y="408"/>
                </a:cxn>
                <a:cxn ang="0">
                  <a:pos x="582" y="352"/>
                </a:cxn>
                <a:cxn ang="0">
                  <a:pos x="556" y="278"/>
                </a:cxn>
              </a:cxnLst>
              <a:rect l="0" t="0" r="r" b="b"/>
              <a:pathLst>
                <a:path w="588" h="510">
                  <a:moveTo>
                    <a:pt x="556" y="278"/>
                  </a:moveTo>
                  <a:lnTo>
                    <a:pt x="476" y="220"/>
                  </a:lnTo>
                  <a:lnTo>
                    <a:pt x="476" y="140"/>
                  </a:lnTo>
                  <a:lnTo>
                    <a:pt x="444" y="140"/>
                  </a:lnTo>
                  <a:lnTo>
                    <a:pt x="346" y="14"/>
                  </a:lnTo>
                  <a:lnTo>
                    <a:pt x="346" y="0"/>
                  </a:lnTo>
                  <a:lnTo>
                    <a:pt x="0" y="8"/>
                  </a:lnTo>
                  <a:lnTo>
                    <a:pt x="22" y="70"/>
                  </a:lnTo>
                  <a:lnTo>
                    <a:pt x="68" y="70"/>
                  </a:lnTo>
                  <a:lnTo>
                    <a:pt x="50" y="136"/>
                  </a:lnTo>
                  <a:lnTo>
                    <a:pt x="104" y="160"/>
                  </a:lnTo>
                  <a:lnTo>
                    <a:pt x="132" y="470"/>
                  </a:lnTo>
                  <a:lnTo>
                    <a:pt x="522" y="462"/>
                  </a:lnTo>
                  <a:lnTo>
                    <a:pt x="506" y="510"/>
                  </a:lnTo>
                  <a:lnTo>
                    <a:pt x="586" y="504"/>
                  </a:lnTo>
                  <a:lnTo>
                    <a:pt x="586" y="410"/>
                  </a:lnTo>
                  <a:lnTo>
                    <a:pt x="588" y="408"/>
                  </a:lnTo>
                  <a:lnTo>
                    <a:pt x="582" y="352"/>
                  </a:lnTo>
                  <a:lnTo>
                    <a:pt x="556" y="27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304037" y="1729571"/>
              <a:ext cx="646996" cy="751772"/>
            </a:xfrm>
            <a:custGeom>
              <a:avLst/>
              <a:gdLst/>
              <a:ahLst/>
              <a:cxnLst>
                <a:cxn ang="0">
                  <a:pos x="404" y="538"/>
                </a:cxn>
                <a:cxn ang="0">
                  <a:pos x="490" y="542"/>
                </a:cxn>
                <a:cxn ang="0">
                  <a:pos x="464" y="400"/>
                </a:cxn>
                <a:cxn ang="0">
                  <a:pos x="494" y="172"/>
                </a:cxn>
                <a:cxn ang="0">
                  <a:pos x="446" y="160"/>
                </a:cxn>
                <a:cxn ang="0">
                  <a:pos x="414" y="160"/>
                </a:cxn>
                <a:cxn ang="0">
                  <a:pos x="404" y="122"/>
                </a:cxn>
                <a:cxn ang="0">
                  <a:pos x="196" y="96"/>
                </a:cxn>
                <a:cxn ang="0">
                  <a:pos x="174" y="38"/>
                </a:cxn>
                <a:cxn ang="0">
                  <a:pos x="146" y="38"/>
                </a:cxn>
                <a:cxn ang="0">
                  <a:pos x="146" y="0"/>
                </a:cxn>
                <a:cxn ang="0">
                  <a:pos x="78" y="24"/>
                </a:cxn>
                <a:cxn ang="0">
                  <a:pos x="36" y="116"/>
                </a:cxn>
                <a:cxn ang="0">
                  <a:pos x="0" y="158"/>
                </a:cxn>
                <a:cxn ang="0">
                  <a:pos x="28" y="292"/>
                </a:cxn>
                <a:cxn ang="0">
                  <a:pos x="166" y="374"/>
                </a:cxn>
                <a:cxn ang="0">
                  <a:pos x="194" y="508"/>
                </a:cxn>
                <a:cxn ang="0">
                  <a:pos x="264" y="574"/>
                </a:cxn>
                <a:cxn ang="0">
                  <a:pos x="352" y="568"/>
                </a:cxn>
                <a:cxn ang="0">
                  <a:pos x="404" y="538"/>
                </a:cxn>
              </a:cxnLst>
              <a:rect l="0" t="0" r="r" b="b"/>
              <a:pathLst>
                <a:path w="494" h="574">
                  <a:moveTo>
                    <a:pt x="404" y="538"/>
                  </a:moveTo>
                  <a:lnTo>
                    <a:pt x="490" y="542"/>
                  </a:lnTo>
                  <a:lnTo>
                    <a:pt x="464" y="400"/>
                  </a:lnTo>
                  <a:lnTo>
                    <a:pt x="494" y="172"/>
                  </a:lnTo>
                  <a:lnTo>
                    <a:pt x="446" y="160"/>
                  </a:lnTo>
                  <a:lnTo>
                    <a:pt x="414" y="160"/>
                  </a:lnTo>
                  <a:lnTo>
                    <a:pt x="404" y="122"/>
                  </a:lnTo>
                  <a:lnTo>
                    <a:pt x="196" y="96"/>
                  </a:lnTo>
                  <a:lnTo>
                    <a:pt x="174" y="38"/>
                  </a:lnTo>
                  <a:lnTo>
                    <a:pt x="146" y="38"/>
                  </a:lnTo>
                  <a:lnTo>
                    <a:pt x="146" y="0"/>
                  </a:lnTo>
                  <a:lnTo>
                    <a:pt x="78" y="24"/>
                  </a:lnTo>
                  <a:lnTo>
                    <a:pt x="36" y="116"/>
                  </a:lnTo>
                  <a:lnTo>
                    <a:pt x="0" y="158"/>
                  </a:lnTo>
                  <a:lnTo>
                    <a:pt x="28" y="292"/>
                  </a:lnTo>
                  <a:lnTo>
                    <a:pt x="166" y="374"/>
                  </a:lnTo>
                  <a:lnTo>
                    <a:pt x="194" y="508"/>
                  </a:lnTo>
                  <a:lnTo>
                    <a:pt x="264" y="574"/>
                  </a:lnTo>
                  <a:lnTo>
                    <a:pt x="352" y="568"/>
                  </a:lnTo>
                  <a:lnTo>
                    <a:pt x="404" y="53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5558120" y="2434193"/>
              <a:ext cx="492450" cy="861788"/>
            </a:xfrm>
            <a:custGeom>
              <a:avLst/>
              <a:gdLst/>
              <a:ahLst/>
              <a:cxnLst>
                <a:cxn ang="0">
                  <a:pos x="336" y="64"/>
                </a:cxn>
                <a:cxn ang="0">
                  <a:pos x="300" y="26"/>
                </a:cxn>
                <a:cxn ang="0">
                  <a:pos x="296" y="4"/>
                </a:cxn>
                <a:cxn ang="0">
                  <a:pos x="210" y="0"/>
                </a:cxn>
                <a:cxn ang="0">
                  <a:pos x="158" y="30"/>
                </a:cxn>
                <a:cxn ang="0">
                  <a:pos x="70" y="36"/>
                </a:cxn>
                <a:cxn ang="0">
                  <a:pos x="78" y="96"/>
                </a:cxn>
                <a:cxn ang="0">
                  <a:pos x="22" y="162"/>
                </a:cxn>
                <a:cxn ang="0">
                  <a:pos x="42" y="202"/>
                </a:cxn>
                <a:cxn ang="0">
                  <a:pos x="0" y="272"/>
                </a:cxn>
                <a:cxn ang="0">
                  <a:pos x="0" y="320"/>
                </a:cxn>
                <a:cxn ang="0">
                  <a:pos x="96" y="442"/>
                </a:cxn>
                <a:cxn ang="0">
                  <a:pos x="130" y="442"/>
                </a:cxn>
                <a:cxn ang="0">
                  <a:pos x="130" y="526"/>
                </a:cxn>
                <a:cxn ang="0">
                  <a:pos x="208" y="580"/>
                </a:cxn>
                <a:cxn ang="0">
                  <a:pos x="236" y="658"/>
                </a:cxn>
                <a:cxn ang="0">
                  <a:pos x="258" y="616"/>
                </a:cxn>
                <a:cxn ang="0">
                  <a:pos x="308" y="644"/>
                </a:cxn>
                <a:cxn ang="0">
                  <a:pos x="348" y="592"/>
                </a:cxn>
                <a:cxn ang="0">
                  <a:pos x="356" y="510"/>
                </a:cxn>
                <a:cxn ang="0">
                  <a:pos x="376" y="428"/>
                </a:cxn>
                <a:cxn ang="0">
                  <a:pos x="336" y="64"/>
                </a:cxn>
              </a:cxnLst>
              <a:rect l="0" t="0" r="r" b="b"/>
              <a:pathLst>
                <a:path w="376" h="658">
                  <a:moveTo>
                    <a:pt x="336" y="64"/>
                  </a:moveTo>
                  <a:lnTo>
                    <a:pt x="300" y="26"/>
                  </a:lnTo>
                  <a:lnTo>
                    <a:pt x="296" y="4"/>
                  </a:lnTo>
                  <a:lnTo>
                    <a:pt x="210" y="0"/>
                  </a:lnTo>
                  <a:lnTo>
                    <a:pt x="158" y="30"/>
                  </a:lnTo>
                  <a:lnTo>
                    <a:pt x="70" y="36"/>
                  </a:lnTo>
                  <a:lnTo>
                    <a:pt x="78" y="96"/>
                  </a:lnTo>
                  <a:lnTo>
                    <a:pt x="22" y="162"/>
                  </a:lnTo>
                  <a:lnTo>
                    <a:pt x="42" y="202"/>
                  </a:lnTo>
                  <a:lnTo>
                    <a:pt x="0" y="272"/>
                  </a:lnTo>
                  <a:lnTo>
                    <a:pt x="0" y="320"/>
                  </a:lnTo>
                  <a:lnTo>
                    <a:pt x="96" y="442"/>
                  </a:lnTo>
                  <a:lnTo>
                    <a:pt x="130" y="442"/>
                  </a:lnTo>
                  <a:lnTo>
                    <a:pt x="130" y="526"/>
                  </a:lnTo>
                  <a:lnTo>
                    <a:pt x="208" y="580"/>
                  </a:lnTo>
                  <a:lnTo>
                    <a:pt x="236" y="658"/>
                  </a:lnTo>
                  <a:lnTo>
                    <a:pt x="258" y="616"/>
                  </a:lnTo>
                  <a:lnTo>
                    <a:pt x="308" y="644"/>
                  </a:lnTo>
                  <a:lnTo>
                    <a:pt x="348" y="592"/>
                  </a:lnTo>
                  <a:lnTo>
                    <a:pt x="356" y="510"/>
                  </a:lnTo>
                  <a:lnTo>
                    <a:pt x="376" y="428"/>
                  </a:lnTo>
                  <a:lnTo>
                    <a:pt x="336" y="6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4" name="Freeform 3053"/>
            <p:cNvSpPr>
              <a:spLocks/>
            </p:cNvSpPr>
            <p:nvPr/>
          </p:nvSpPr>
          <p:spPr bwMode="auto">
            <a:xfrm>
              <a:off x="7360329" y="1614373"/>
              <a:ext cx="128559" cy="49109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6" y="312"/>
                </a:cxn>
                <a:cxn ang="0">
                  <a:pos x="100" y="382"/>
                </a:cxn>
                <a:cxn ang="0">
                  <a:pos x="94" y="324"/>
                </a:cxn>
                <a:cxn ang="0">
                  <a:pos x="30" y="98"/>
                </a:cxn>
                <a:cxn ang="0">
                  <a:pos x="0" y="0"/>
                </a:cxn>
              </a:cxnLst>
              <a:rect l="0" t="0" r="r" b="b"/>
              <a:pathLst>
                <a:path w="100" h="382">
                  <a:moveTo>
                    <a:pt x="0" y="0"/>
                  </a:moveTo>
                  <a:lnTo>
                    <a:pt x="86" y="312"/>
                  </a:lnTo>
                  <a:lnTo>
                    <a:pt x="100" y="382"/>
                  </a:lnTo>
                  <a:lnTo>
                    <a:pt x="94" y="324"/>
                  </a:lnTo>
                  <a:lnTo>
                    <a:pt x="30" y="9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5" name="Freeform 3054"/>
            <p:cNvSpPr>
              <a:spLocks/>
            </p:cNvSpPr>
            <p:nvPr/>
          </p:nvSpPr>
          <p:spPr bwMode="auto">
            <a:xfrm>
              <a:off x="6792096" y="1570663"/>
              <a:ext cx="771357" cy="701935"/>
            </a:xfrm>
            <a:custGeom>
              <a:avLst/>
              <a:gdLst/>
              <a:ahLst/>
              <a:cxnLst>
                <a:cxn ang="0">
                  <a:pos x="546" y="442"/>
                </a:cxn>
                <a:cxn ang="0">
                  <a:pos x="542" y="416"/>
                </a:cxn>
                <a:cxn ang="0">
                  <a:pos x="528" y="346"/>
                </a:cxn>
                <a:cxn ang="0">
                  <a:pos x="442" y="34"/>
                </a:cxn>
                <a:cxn ang="0">
                  <a:pos x="434" y="0"/>
                </a:cxn>
                <a:cxn ang="0">
                  <a:pos x="434" y="0"/>
                </a:cxn>
                <a:cxn ang="0">
                  <a:pos x="434" y="0"/>
                </a:cxn>
                <a:cxn ang="0">
                  <a:pos x="308" y="48"/>
                </a:cxn>
                <a:cxn ang="0">
                  <a:pos x="238" y="208"/>
                </a:cxn>
                <a:cxn ang="0">
                  <a:pos x="246" y="234"/>
                </a:cxn>
                <a:cxn ang="0">
                  <a:pos x="216" y="290"/>
                </a:cxn>
                <a:cxn ang="0">
                  <a:pos x="84" y="318"/>
                </a:cxn>
                <a:cxn ang="0">
                  <a:pos x="46" y="398"/>
                </a:cxn>
                <a:cxn ang="0">
                  <a:pos x="58" y="426"/>
                </a:cxn>
                <a:cxn ang="0">
                  <a:pos x="0" y="494"/>
                </a:cxn>
                <a:cxn ang="0">
                  <a:pos x="16" y="546"/>
                </a:cxn>
                <a:cxn ang="0">
                  <a:pos x="380" y="426"/>
                </a:cxn>
                <a:cxn ang="0">
                  <a:pos x="456" y="492"/>
                </a:cxn>
                <a:cxn ang="0">
                  <a:pos x="478" y="498"/>
                </a:cxn>
                <a:cxn ang="0">
                  <a:pos x="588" y="522"/>
                </a:cxn>
                <a:cxn ang="0">
                  <a:pos x="600" y="496"/>
                </a:cxn>
                <a:cxn ang="0">
                  <a:pos x="594" y="490"/>
                </a:cxn>
                <a:cxn ang="0">
                  <a:pos x="546" y="442"/>
                </a:cxn>
              </a:cxnLst>
              <a:rect l="0" t="0" r="r" b="b"/>
              <a:pathLst>
                <a:path w="600" h="546">
                  <a:moveTo>
                    <a:pt x="546" y="442"/>
                  </a:moveTo>
                  <a:lnTo>
                    <a:pt x="542" y="416"/>
                  </a:lnTo>
                  <a:lnTo>
                    <a:pt x="528" y="346"/>
                  </a:lnTo>
                  <a:lnTo>
                    <a:pt x="442" y="34"/>
                  </a:lnTo>
                  <a:lnTo>
                    <a:pt x="434" y="0"/>
                  </a:lnTo>
                  <a:lnTo>
                    <a:pt x="434" y="0"/>
                  </a:lnTo>
                  <a:lnTo>
                    <a:pt x="434" y="0"/>
                  </a:lnTo>
                  <a:lnTo>
                    <a:pt x="308" y="48"/>
                  </a:lnTo>
                  <a:lnTo>
                    <a:pt x="238" y="208"/>
                  </a:lnTo>
                  <a:lnTo>
                    <a:pt x="246" y="234"/>
                  </a:lnTo>
                  <a:lnTo>
                    <a:pt x="216" y="290"/>
                  </a:lnTo>
                  <a:lnTo>
                    <a:pt x="84" y="318"/>
                  </a:lnTo>
                  <a:lnTo>
                    <a:pt x="46" y="398"/>
                  </a:lnTo>
                  <a:lnTo>
                    <a:pt x="58" y="426"/>
                  </a:lnTo>
                  <a:lnTo>
                    <a:pt x="0" y="494"/>
                  </a:lnTo>
                  <a:lnTo>
                    <a:pt x="16" y="546"/>
                  </a:lnTo>
                  <a:lnTo>
                    <a:pt x="380" y="426"/>
                  </a:lnTo>
                  <a:lnTo>
                    <a:pt x="456" y="492"/>
                  </a:lnTo>
                  <a:lnTo>
                    <a:pt x="478" y="498"/>
                  </a:lnTo>
                  <a:lnTo>
                    <a:pt x="588" y="522"/>
                  </a:lnTo>
                  <a:lnTo>
                    <a:pt x="600" y="496"/>
                  </a:lnTo>
                  <a:lnTo>
                    <a:pt x="594" y="490"/>
                  </a:lnTo>
                  <a:lnTo>
                    <a:pt x="546" y="4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6" name="Freeform 3055"/>
            <p:cNvSpPr>
              <a:spLocks/>
            </p:cNvSpPr>
            <p:nvPr/>
          </p:nvSpPr>
          <p:spPr bwMode="auto">
            <a:xfrm>
              <a:off x="7684299" y="1748075"/>
              <a:ext cx="51424" cy="35996"/>
            </a:xfrm>
            <a:custGeom>
              <a:avLst/>
              <a:gdLst/>
              <a:ahLst/>
              <a:cxnLst>
                <a:cxn ang="0">
                  <a:pos x="40" y="28"/>
                </a:cxn>
                <a:cxn ang="0">
                  <a:pos x="40" y="24"/>
                </a:cxn>
                <a:cxn ang="0">
                  <a:pos x="0" y="0"/>
                </a:cxn>
                <a:cxn ang="0">
                  <a:pos x="40" y="28"/>
                </a:cxn>
              </a:cxnLst>
              <a:rect l="0" t="0" r="r" b="b"/>
              <a:pathLst>
                <a:path w="40" h="28">
                  <a:moveTo>
                    <a:pt x="40" y="28"/>
                  </a:moveTo>
                  <a:lnTo>
                    <a:pt x="40" y="24"/>
                  </a:lnTo>
                  <a:lnTo>
                    <a:pt x="0" y="0"/>
                  </a:lnTo>
                  <a:lnTo>
                    <a:pt x="40" y="2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7" name="Freeform 3056"/>
            <p:cNvSpPr>
              <a:spLocks/>
            </p:cNvSpPr>
            <p:nvPr/>
          </p:nvSpPr>
          <p:spPr bwMode="auto">
            <a:xfrm>
              <a:off x="7522314" y="1007573"/>
              <a:ext cx="480812" cy="771357"/>
            </a:xfrm>
            <a:custGeom>
              <a:avLst/>
              <a:gdLst/>
              <a:ahLst/>
              <a:cxnLst>
                <a:cxn ang="0">
                  <a:pos x="284" y="228"/>
                </a:cxn>
                <a:cxn ang="0">
                  <a:pos x="244" y="202"/>
                </a:cxn>
                <a:cxn ang="0">
                  <a:pos x="136" y="0"/>
                </a:cxn>
                <a:cxn ang="0">
                  <a:pos x="84" y="68"/>
                </a:cxn>
                <a:cxn ang="0">
                  <a:pos x="46" y="54"/>
                </a:cxn>
                <a:cxn ang="0">
                  <a:pos x="46" y="228"/>
                </a:cxn>
                <a:cxn ang="0">
                  <a:pos x="0" y="356"/>
                </a:cxn>
                <a:cxn ang="0">
                  <a:pos x="126" y="576"/>
                </a:cxn>
                <a:cxn ang="0">
                  <a:pos x="166" y="600"/>
                </a:cxn>
                <a:cxn ang="0">
                  <a:pos x="166" y="540"/>
                </a:cxn>
                <a:cxn ang="0">
                  <a:pos x="244" y="404"/>
                </a:cxn>
                <a:cxn ang="0">
                  <a:pos x="294" y="378"/>
                </a:cxn>
                <a:cxn ang="0">
                  <a:pos x="294" y="336"/>
                </a:cxn>
                <a:cxn ang="0">
                  <a:pos x="374" y="202"/>
                </a:cxn>
                <a:cxn ang="0">
                  <a:pos x="284" y="228"/>
                </a:cxn>
              </a:cxnLst>
              <a:rect l="0" t="0" r="r" b="b"/>
              <a:pathLst>
                <a:path w="374" h="600">
                  <a:moveTo>
                    <a:pt x="284" y="228"/>
                  </a:moveTo>
                  <a:lnTo>
                    <a:pt x="244" y="202"/>
                  </a:lnTo>
                  <a:lnTo>
                    <a:pt x="136" y="0"/>
                  </a:lnTo>
                  <a:lnTo>
                    <a:pt x="84" y="68"/>
                  </a:lnTo>
                  <a:lnTo>
                    <a:pt x="46" y="54"/>
                  </a:lnTo>
                  <a:lnTo>
                    <a:pt x="46" y="228"/>
                  </a:lnTo>
                  <a:lnTo>
                    <a:pt x="0" y="356"/>
                  </a:lnTo>
                  <a:lnTo>
                    <a:pt x="126" y="576"/>
                  </a:lnTo>
                  <a:lnTo>
                    <a:pt x="166" y="600"/>
                  </a:lnTo>
                  <a:lnTo>
                    <a:pt x="166" y="540"/>
                  </a:lnTo>
                  <a:lnTo>
                    <a:pt x="244" y="404"/>
                  </a:lnTo>
                  <a:lnTo>
                    <a:pt x="294" y="378"/>
                  </a:lnTo>
                  <a:lnTo>
                    <a:pt x="294" y="336"/>
                  </a:lnTo>
                  <a:lnTo>
                    <a:pt x="374" y="202"/>
                  </a:lnTo>
                  <a:lnTo>
                    <a:pt x="284" y="22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8" name="Freeform 3057"/>
            <p:cNvSpPr>
              <a:spLocks/>
            </p:cNvSpPr>
            <p:nvPr/>
          </p:nvSpPr>
          <p:spPr bwMode="auto">
            <a:xfrm>
              <a:off x="7352615" y="1516668"/>
              <a:ext cx="151701" cy="434531"/>
            </a:xfrm>
            <a:custGeom>
              <a:avLst/>
              <a:gdLst/>
              <a:ahLst/>
              <a:cxnLst>
                <a:cxn ang="0">
                  <a:pos x="110" y="84"/>
                </a:cxn>
                <a:cxn ang="0">
                  <a:pos x="110" y="84"/>
                </a:cxn>
                <a:cxn ang="0">
                  <a:pos x="112" y="64"/>
                </a:cxn>
                <a:cxn ang="0">
                  <a:pos x="112" y="42"/>
                </a:cxn>
                <a:cxn ang="0">
                  <a:pos x="110" y="20"/>
                </a:cxn>
                <a:cxn ang="0">
                  <a:pos x="106" y="0"/>
                </a:cxn>
                <a:cxn ang="0">
                  <a:pos x="0" y="40"/>
                </a:cxn>
                <a:cxn ang="0">
                  <a:pos x="0" y="42"/>
                </a:cxn>
                <a:cxn ang="0">
                  <a:pos x="2" y="42"/>
                </a:cxn>
                <a:cxn ang="0">
                  <a:pos x="40" y="174"/>
                </a:cxn>
                <a:cxn ang="0">
                  <a:pos x="80" y="318"/>
                </a:cxn>
                <a:cxn ang="0">
                  <a:pos x="86" y="338"/>
                </a:cxn>
                <a:cxn ang="0">
                  <a:pos x="86" y="338"/>
                </a:cxn>
                <a:cxn ang="0">
                  <a:pos x="118" y="330"/>
                </a:cxn>
                <a:cxn ang="0">
                  <a:pos x="118" y="330"/>
                </a:cxn>
                <a:cxn ang="0">
                  <a:pos x="110" y="302"/>
                </a:cxn>
                <a:cxn ang="0">
                  <a:pos x="106" y="270"/>
                </a:cxn>
                <a:cxn ang="0">
                  <a:pos x="104" y="234"/>
                </a:cxn>
                <a:cxn ang="0">
                  <a:pos x="104" y="198"/>
                </a:cxn>
                <a:cxn ang="0">
                  <a:pos x="106" y="132"/>
                </a:cxn>
                <a:cxn ang="0">
                  <a:pos x="108" y="104"/>
                </a:cxn>
                <a:cxn ang="0">
                  <a:pos x="110" y="84"/>
                </a:cxn>
                <a:cxn ang="0">
                  <a:pos x="110" y="84"/>
                </a:cxn>
              </a:cxnLst>
              <a:rect l="0" t="0" r="r" b="b"/>
              <a:pathLst>
                <a:path w="118" h="338">
                  <a:moveTo>
                    <a:pt x="110" y="84"/>
                  </a:moveTo>
                  <a:lnTo>
                    <a:pt x="110" y="84"/>
                  </a:lnTo>
                  <a:lnTo>
                    <a:pt x="112" y="64"/>
                  </a:lnTo>
                  <a:lnTo>
                    <a:pt x="112" y="42"/>
                  </a:lnTo>
                  <a:lnTo>
                    <a:pt x="110" y="20"/>
                  </a:lnTo>
                  <a:lnTo>
                    <a:pt x="106" y="0"/>
                  </a:lnTo>
                  <a:lnTo>
                    <a:pt x="0" y="40"/>
                  </a:lnTo>
                  <a:lnTo>
                    <a:pt x="0" y="42"/>
                  </a:lnTo>
                  <a:lnTo>
                    <a:pt x="2" y="42"/>
                  </a:lnTo>
                  <a:lnTo>
                    <a:pt x="40" y="174"/>
                  </a:lnTo>
                  <a:lnTo>
                    <a:pt x="80" y="318"/>
                  </a:lnTo>
                  <a:lnTo>
                    <a:pt x="86" y="338"/>
                  </a:lnTo>
                  <a:lnTo>
                    <a:pt x="86" y="338"/>
                  </a:lnTo>
                  <a:lnTo>
                    <a:pt x="118" y="330"/>
                  </a:lnTo>
                  <a:lnTo>
                    <a:pt x="118" y="330"/>
                  </a:lnTo>
                  <a:lnTo>
                    <a:pt x="110" y="302"/>
                  </a:lnTo>
                  <a:lnTo>
                    <a:pt x="106" y="270"/>
                  </a:lnTo>
                  <a:lnTo>
                    <a:pt x="104" y="234"/>
                  </a:lnTo>
                  <a:lnTo>
                    <a:pt x="104" y="198"/>
                  </a:lnTo>
                  <a:lnTo>
                    <a:pt x="106" y="132"/>
                  </a:lnTo>
                  <a:lnTo>
                    <a:pt x="108" y="104"/>
                  </a:lnTo>
                  <a:lnTo>
                    <a:pt x="110" y="84"/>
                  </a:lnTo>
                  <a:lnTo>
                    <a:pt x="110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9" name="Freeform 3058"/>
            <p:cNvSpPr>
              <a:spLocks/>
            </p:cNvSpPr>
            <p:nvPr/>
          </p:nvSpPr>
          <p:spPr bwMode="auto">
            <a:xfrm>
              <a:off x="7486317" y="1462674"/>
              <a:ext cx="251976" cy="478241"/>
            </a:xfrm>
            <a:custGeom>
              <a:avLst/>
              <a:gdLst/>
              <a:ahLst/>
              <a:cxnLst>
                <a:cxn ang="0">
                  <a:pos x="156" y="224"/>
                </a:cxn>
                <a:cxn ang="0">
                  <a:pos x="30" y="6"/>
                </a:cxn>
                <a:cxn ang="0">
                  <a:pos x="30" y="4"/>
                </a:cxn>
                <a:cxn ang="0">
                  <a:pos x="156" y="222"/>
                </a:cxn>
                <a:cxn ang="0">
                  <a:pos x="30" y="0"/>
                </a:cxn>
                <a:cxn ang="0">
                  <a:pos x="16" y="36"/>
                </a:cxn>
                <a:cxn ang="0">
                  <a:pos x="2" y="42"/>
                </a:cxn>
                <a:cxn ang="0">
                  <a:pos x="2" y="42"/>
                </a:cxn>
                <a:cxn ang="0">
                  <a:pos x="6" y="62"/>
                </a:cxn>
                <a:cxn ang="0">
                  <a:pos x="8" y="84"/>
                </a:cxn>
                <a:cxn ang="0">
                  <a:pos x="8" y="106"/>
                </a:cxn>
                <a:cxn ang="0">
                  <a:pos x="6" y="126"/>
                </a:cxn>
                <a:cxn ang="0">
                  <a:pos x="6" y="126"/>
                </a:cxn>
                <a:cxn ang="0">
                  <a:pos x="4" y="146"/>
                </a:cxn>
                <a:cxn ang="0">
                  <a:pos x="2" y="174"/>
                </a:cxn>
                <a:cxn ang="0">
                  <a:pos x="0" y="240"/>
                </a:cxn>
                <a:cxn ang="0">
                  <a:pos x="0" y="276"/>
                </a:cxn>
                <a:cxn ang="0">
                  <a:pos x="2" y="312"/>
                </a:cxn>
                <a:cxn ang="0">
                  <a:pos x="6" y="344"/>
                </a:cxn>
                <a:cxn ang="0">
                  <a:pos x="14" y="372"/>
                </a:cxn>
                <a:cxn ang="0">
                  <a:pos x="14" y="372"/>
                </a:cxn>
                <a:cxn ang="0">
                  <a:pos x="44" y="362"/>
                </a:cxn>
                <a:cxn ang="0">
                  <a:pos x="74" y="350"/>
                </a:cxn>
                <a:cxn ang="0">
                  <a:pos x="100" y="334"/>
                </a:cxn>
                <a:cxn ang="0">
                  <a:pos x="114" y="326"/>
                </a:cxn>
                <a:cxn ang="0">
                  <a:pos x="124" y="316"/>
                </a:cxn>
                <a:cxn ang="0">
                  <a:pos x="124" y="316"/>
                </a:cxn>
                <a:cxn ang="0">
                  <a:pos x="134" y="308"/>
                </a:cxn>
                <a:cxn ang="0">
                  <a:pos x="144" y="300"/>
                </a:cxn>
                <a:cxn ang="0">
                  <a:pos x="154" y="296"/>
                </a:cxn>
                <a:cxn ang="0">
                  <a:pos x="164" y="292"/>
                </a:cxn>
                <a:cxn ang="0">
                  <a:pos x="182" y="288"/>
                </a:cxn>
                <a:cxn ang="0">
                  <a:pos x="196" y="288"/>
                </a:cxn>
                <a:cxn ang="0">
                  <a:pos x="196" y="250"/>
                </a:cxn>
                <a:cxn ang="0">
                  <a:pos x="156" y="224"/>
                </a:cxn>
              </a:cxnLst>
              <a:rect l="0" t="0" r="r" b="b"/>
              <a:pathLst>
                <a:path w="196" h="372">
                  <a:moveTo>
                    <a:pt x="156" y="224"/>
                  </a:moveTo>
                  <a:lnTo>
                    <a:pt x="30" y="6"/>
                  </a:lnTo>
                  <a:lnTo>
                    <a:pt x="30" y="4"/>
                  </a:lnTo>
                  <a:lnTo>
                    <a:pt x="156" y="222"/>
                  </a:lnTo>
                  <a:lnTo>
                    <a:pt x="30" y="0"/>
                  </a:lnTo>
                  <a:lnTo>
                    <a:pt x="16" y="36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6" y="62"/>
                  </a:lnTo>
                  <a:lnTo>
                    <a:pt x="8" y="84"/>
                  </a:lnTo>
                  <a:lnTo>
                    <a:pt x="8" y="106"/>
                  </a:lnTo>
                  <a:lnTo>
                    <a:pt x="6" y="126"/>
                  </a:lnTo>
                  <a:lnTo>
                    <a:pt x="6" y="126"/>
                  </a:lnTo>
                  <a:lnTo>
                    <a:pt x="4" y="146"/>
                  </a:lnTo>
                  <a:lnTo>
                    <a:pt x="2" y="174"/>
                  </a:lnTo>
                  <a:lnTo>
                    <a:pt x="0" y="240"/>
                  </a:lnTo>
                  <a:lnTo>
                    <a:pt x="0" y="276"/>
                  </a:lnTo>
                  <a:lnTo>
                    <a:pt x="2" y="312"/>
                  </a:lnTo>
                  <a:lnTo>
                    <a:pt x="6" y="344"/>
                  </a:lnTo>
                  <a:lnTo>
                    <a:pt x="14" y="372"/>
                  </a:lnTo>
                  <a:lnTo>
                    <a:pt x="14" y="372"/>
                  </a:lnTo>
                  <a:lnTo>
                    <a:pt x="44" y="362"/>
                  </a:lnTo>
                  <a:lnTo>
                    <a:pt x="74" y="350"/>
                  </a:lnTo>
                  <a:lnTo>
                    <a:pt x="100" y="334"/>
                  </a:lnTo>
                  <a:lnTo>
                    <a:pt x="114" y="326"/>
                  </a:lnTo>
                  <a:lnTo>
                    <a:pt x="124" y="316"/>
                  </a:lnTo>
                  <a:lnTo>
                    <a:pt x="124" y="316"/>
                  </a:lnTo>
                  <a:lnTo>
                    <a:pt x="134" y="308"/>
                  </a:lnTo>
                  <a:lnTo>
                    <a:pt x="144" y="300"/>
                  </a:lnTo>
                  <a:lnTo>
                    <a:pt x="154" y="296"/>
                  </a:lnTo>
                  <a:lnTo>
                    <a:pt x="164" y="292"/>
                  </a:lnTo>
                  <a:lnTo>
                    <a:pt x="182" y="288"/>
                  </a:lnTo>
                  <a:lnTo>
                    <a:pt x="196" y="288"/>
                  </a:lnTo>
                  <a:lnTo>
                    <a:pt x="196" y="250"/>
                  </a:lnTo>
                  <a:lnTo>
                    <a:pt x="156" y="22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30" name="Freeform 3059"/>
            <p:cNvSpPr>
              <a:spLocks/>
            </p:cNvSpPr>
            <p:nvPr/>
          </p:nvSpPr>
          <p:spPr bwMode="auto">
            <a:xfrm>
              <a:off x="7481174" y="1971769"/>
              <a:ext cx="213409" cy="233978"/>
            </a:xfrm>
            <a:custGeom>
              <a:avLst/>
              <a:gdLst/>
              <a:ahLst/>
              <a:cxnLst>
                <a:cxn ang="0">
                  <a:pos x="2" y="46"/>
                </a:cxn>
                <a:cxn ang="0">
                  <a:pos x="12" y="128"/>
                </a:cxn>
                <a:cxn ang="0">
                  <a:pos x="64" y="182"/>
                </a:cxn>
                <a:cxn ang="0">
                  <a:pos x="60" y="178"/>
                </a:cxn>
                <a:cxn ang="0">
                  <a:pos x="64" y="182"/>
                </a:cxn>
                <a:cxn ang="0">
                  <a:pos x="66" y="178"/>
                </a:cxn>
                <a:cxn ang="0">
                  <a:pos x="150" y="138"/>
                </a:cxn>
                <a:cxn ang="0">
                  <a:pos x="164" y="138"/>
                </a:cxn>
                <a:cxn ang="0">
                  <a:pos x="166" y="138"/>
                </a:cxn>
                <a:cxn ang="0">
                  <a:pos x="138" y="0"/>
                </a:cxn>
                <a:cxn ang="0">
                  <a:pos x="0" y="44"/>
                </a:cxn>
                <a:cxn ang="0">
                  <a:pos x="2" y="46"/>
                </a:cxn>
              </a:cxnLst>
              <a:rect l="0" t="0" r="r" b="b"/>
              <a:pathLst>
                <a:path w="166" h="182">
                  <a:moveTo>
                    <a:pt x="2" y="46"/>
                  </a:moveTo>
                  <a:lnTo>
                    <a:pt x="12" y="128"/>
                  </a:lnTo>
                  <a:lnTo>
                    <a:pt x="64" y="182"/>
                  </a:lnTo>
                  <a:lnTo>
                    <a:pt x="60" y="178"/>
                  </a:lnTo>
                  <a:lnTo>
                    <a:pt x="64" y="182"/>
                  </a:lnTo>
                  <a:lnTo>
                    <a:pt x="66" y="178"/>
                  </a:lnTo>
                  <a:lnTo>
                    <a:pt x="150" y="138"/>
                  </a:lnTo>
                  <a:lnTo>
                    <a:pt x="164" y="138"/>
                  </a:lnTo>
                  <a:lnTo>
                    <a:pt x="166" y="138"/>
                  </a:lnTo>
                  <a:lnTo>
                    <a:pt x="138" y="0"/>
                  </a:lnTo>
                  <a:lnTo>
                    <a:pt x="0" y="44"/>
                  </a:lnTo>
                  <a:lnTo>
                    <a:pt x="2" y="4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31" name="Freeform 3060"/>
            <p:cNvSpPr>
              <a:spLocks/>
            </p:cNvSpPr>
            <p:nvPr/>
          </p:nvSpPr>
          <p:spPr bwMode="auto">
            <a:xfrm>
              <a:off x="7460606" y="1835496"/>
              <a:ext cx="429388" cy="195410"/>
            </a:xfrm>
            <a:custGeom>
              <a:avLst/>
              <a:gdLst/>
              <a:ahLst/>
              <a:cxnLst>
                <a:cxn ang="0">
                  <a:pos x="292" y="16"/>
                </a:cxn>
                <a:cxn ang="0">
                  <a:pos x="264" y="68"/>
                </a:cxn>
                <a:cxn ang="0">
                  <a:pos x="214" y="2"/>
                </a:cxn>
                <a:cxn ang="0">
                  <a:pos x="214" y="0"/>
                </a:cxn>
                <a:cxn ang="0">
                  <a:pos x="214" y="0"/>
                </a:cxn>
                <a:cxn ang="0">
                  <a:pos x="202" y="0"/>
                </a:cxn>
                <a:cxn ang="0">
                  <a:pos x="184" y="2"/>
                </a:cxn>
                <a:cxn ang="0">
                  <a:pos x="174" y="6"/>
                </a:cxn>
                <a:cxn ang="0">
                  <a:pos x="162" y="12"/>
                </a:cxn>
                <a:cxn ang="0">
                  <a:pos x="152" y="18"/>
                </a:cxn>
                <a:cxn ang="0">
                  <a:pos x="142" y="26"/>
                </a:cxn>
                <a:cxn ang="0">
                  <a:pos x="142" y="26"/>
                </a:cxn>
                <a:cxn ang="0">
                  <a:pos x="128" y="38"/>
                </a:cxn>
                <a:cxn ang="0">
                  <a:pos x="112" y="50"/>
                </a:cxn>
                <a:cxn ang="0">
                  <a:pos x="96" y="60"/>
                </a:cxn>
                <a:cxn ang="0">
                  <a:pos x="76" y="68"/>
                </a:cxn>
                <a:cxn ang="0">
                  <a:pos x="38" y="82"/>
                </a:cxn>
                <a:cxn ang="0">
                  <a:pos x="0" y="90"/>
                </a:cxn>
                <a:cxn ang="0">
                  <a:pos x="16" y="150"/>
                </a:cxn>
                <a:cxn ang="0">
                  <a:pos x="154" y="106"/>
                </a:cxn>
                <a:cxn ang="0">
                  <a:pos x="154" y="102"/>
                </a:cxn>
                <a:cxn ang="0">
                  <a:pos x="170" y="96"/>
                </a:cxn>
                <a:cxn ang="0">
                  <a:pos x="206" y="82"/>
                </a:cxn>
                <a:cxn ang="0">
                  <a:pos x="242" y="122"/>
                </a:cxn>
                <a:cxn ang="0">
                  <a:pos x="244" y="122"/>
                </a:cxn>
                <a:cxn ang="0">
                  <a:pos x="254" y="152"/>
                </a:cxn>
                <a:cxn ang="0">
                  <a:pos x="334" y="152"/>
                </a:cxn>
                <a:cxn ang="0">
                  <a:pos x="334" y="84"/>
                </a:cxn>
                <a:cxn ang="0">
                  <a:pos x="292" y="16"/>
                </a:cxn>
              </a:cxnLst>
              <a:rect l="0" t="0" r="r" b="b"/>
              <a:pathLst>
                <a:path w="334" h="152">
                  <a:moveTo>
                    <a:pt x="292" y="16"/>
                  </a:moveTo>
                  <a:lnTo>
                    <a:pt x="264" y="68"/>
                  </a:lnTo>
                  <a:lnTo>
                    <a:pt x="214" y="2"/>
                  </a:lnTo>
                  <a:lnTo>
                    <a:pt x="214" y="0"/>
                  </a:lnTo>
                  <a:lnTo>
                    <a:pt x="214" y="0"/>
                  </a:lnTo>
                  <a:lnTo>
                    <a:pt x="202" y="0"/>
                  </a:lnTo>
                  <a:lnTo>
                    <a:pt x="184" y="2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2" y="18"/>
                  </a:lnTo>
                  <a:lnTo>
                    <a:pt x="142" y="26"/>
                  </a:lnTo>
                  <a:lnTo>
                    <a:pt x="142" y="26"/>
                  </a:lnTo>
                  <a:lnTo>
                    <a:pt x="128" y="38"/>
                  </a:lnTo>
                  <a:lnTo>
                    <a:pt x="112" y="50"/>
                  </a:lnTo>
                  <a:lnTo>
                    <a:pt x="96" y="60"/>
                  </a:lnTo>
                  <a:lnTo>
                    <a:pt x="76" y="68"/>
                  </a:lnTo>
                  <a:lnTo>
                    <a:pt x="38" y="82"/>
                  </a:lnTo>
                  <a:lnTo>
                    <a:pt x="0" y="90"/>
                  </a:lnTo>
                  <a:lnTo>
                    <a:pt x="16" y="150"/>
                  </a:lnTo>
                  <a:lnTo>
                    <a:pt x="154" y="106"/>
                  </a:lnTo>
                  <a:lnTo>
                    <a:pt x="154" y="102"/>
                  </a:lnTo>
                  <a:lnTo>
                    <a:pt x="170" y="96"/>
                  </a:lnTo>
                  <a:lnTo>
                    <a:pt x="206" y="82"/>
                  </a:lnTo>
                  <a:lnTo>
                    <a:pt x="242" y="122"/>
                  </a:lnTo>
                  <a:lnTo>
                    <a:pt x="244" y="122"/>
                  </a:lnTo>
                  <a:lnTo>
                    <a:pt x="254" y="152"/>
                  </a:lnTo>
                  <a:lnTo>
                    <a:pt x="334" y="152"/>
                  </a:lnTo>
                  <a:lnTo>
                    <a:pt x="334" y="84"/>
                  </a:lnTo>
                  <a:lnTo>
                    <a:pt x="292" y="1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32" name="Freeform 2853"/>
            <p:cNvSpPr>
              <a:spLocks/>
            </p:cNvSpPr>
            <p:nvPr/>
          </p:nvSpPr>
          <p:spPr bwMode="auto">
            <a:xfrm>
              <a:off x="7695022" y="2153639"/>
              <a:ext cx="2571" cy="25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33" name="Freeform 2854"/>
            <p:cNvSpPr>
              <a:spLocks/>
            </p:cNvSpPr>
            <p:nvPr/>
          </p:nvSpPr>
          <p:spPr bwMode="auto">
            <a:xfrm>
              <a:off x="2751006" y="3282304"/>
              <a:ext cx="745587" cy="1007828"/>
            </a:xfrm>
            <a:custGeom>
              <a:avLst/>
              <a:gdLst/>
              <a:ahLst/>
              <a:cxnLst>
                <a:cxn ang="0">
                  <a:pos x="128" y="0"/>
                </a:cxn>
                <a:cxn ang="0">
                  <a:pos x="112" y="120"/>
                </a:cxn>
                <a:cxn ang="0">
                  <a:pos x="72" y="106"/>
                </a:cxn>
                <a:cxn ang="0">
                  <a:pos x="42" y="254"/>
                </a:cxn>
                <a:cxn ang="0">
                  <a:pos x="74" y="350"/>
                </a:cxn>
                <a:cxn ang="0">
                  <a:pos x="62" y="364"/>
                </a:cxn>
                <a:cxn ang="0">
                  <a:pos x="12" y="472"/>
                </a:cxn>
                <a:cxn ang="0">
                  <a:pos x="24" y="526"/>
                </a:cxn>
                <a:cxn ang="0">
                  <a:pos x="0" y="568"/>
                </a:cxn>
                <a:cxn ang="0">
                  <a:pos x="362" y="768"/>
                </a:cxn>
                <a:cxn ang="0">
                  <a:pos x="538" y="784"/>
                </a:cxn>
                <a:cxn ang="0">
                  <a:pos x="580" y="80"/>
                </a:cxn>
                <a:cxn ang="0">
                  <a:pos x="128" y="0"/>
                </a:cxn>
              </a:cxnLst>
              <a:rect l="0" t="0" r="r" b="b"/>
              <a:pathLst>
                <a:path w="580" h="784">
                  <a:moveTo>
                    <a:pt x="128" y="0"/>
                  </a:moveTo>
                  <a:lnTo>
                    <a:pt x="112" y="120"/>
                  </a:lnTo>
                  <a:lnTo>
                    <a:pt x="72" y="106"/>
                  </a:lnTo>
                  <a:lnTo>
                    <a:pt x="42" y="254"/>
                  </a:lnTo>
                  <a:lnTo>
                    <a:pt x="74" y="350"/>
                  </a:lnTo>
                  <a:lnTo>
                    <a:pt x="62" y="364"/>
                  </a:lnTo>
                  <a:lnTo>
                    <a:pt x="12" y="472"/>
                  </a:lnTo>
                  <a:lnTo>
                    <a:pt x="24" y="526"/>
                  </a:lnTo>
                  <a:lnTo>
                    <a:pt x="0" y="568"/>
                  </a:lnTo>
                  <a:lnTo>
                    <a:pt x="362" y="768"/>
                  </a:lnTo>
                  <a:lnTo>
                    <a:pt x="538" y="784"/>
                  </a:lnTo>
                  <a:lnTo>
                    <a:pt x="580" y="80"/>
                  </a:lnTo>
                  <a:lnTo>
                    <a:pt x="12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34" name="Freeform 2855"/>
            <p:cNvSpPr>
              <a:spLocks/>
            </p:cNvSpPr>
            <p:nvPr/>
          </p:nvSpPr>
          <p:spPr bwMode="auto">
            <a:xfrm>
              <a:off x="5381130" y="3945620"/>
              <a:ext cx="719878" cy="601612"/>
            </a:xfrm>
            <a:custGeom>
              <a:avLst/>
              <a:gdLst/>
              <a:ahLst/>
              <a:cxnLst>
                <a:cxn ang="0">
                  <a:pos x="276" y="240"/>
                </a:cxn>
                <a:cxn ang="0">
                  <a:pos x="310" y="90"/>
                </a:cxn>
                <a:cxn ang="0">
                  <a:pos x="280" y="0"/>
                </a:cxn>
                <a:cxn ang="0">
                  <a:pos x="0" y="20"/>
                </a:cxn>
                <a:cxn ang="0">
                  <a:pos x="16" y="154"/>
                </a:cxn>
                <a:cxn ang="0">
                  <a:pos x="84" y="274"/>
                </a:cxn>
                <a:cxn ang="0">
                  <a:pos x="76" y="372"/>
                </a:cxn>
                <a:cxn ang="0">
                  <a:pos x="62" y="416"/>
                </a:cxn>
                <a:cxn ang="0">
                  <a:pos x="174" y="440"/>
                </a:cxn>
                <a:cxn ang="0">
                  <a:pos x="282" y="426"/>
                </a:cxn>
                <a:cxn ang="0">
                  <a:pos x="264" y="468"/>
                </a:cxn>
                <a:cxn ang="0">
                  <a:pos x="354" y="468"/>
                </a:cxn>
                <a:cxn ang="0">
                  <a:pos x="390" y="426"/>
                </a:cxn>
                <a:cxn ang="0">
                  <a:pos x="412" y="454"/>
                </a:cxn>
                <a:cxn ang="0">
                  <a:pos x="480" y="400"/>
                </a:cxn>
                <a:cxn ang="0">
                  <a:pos x="502" y="454"/>
                </a:cxn>
                <a:cxn ang="0">
                  <a:pos x="540" y="454"/>
                </a:cxn>
                <a:cxn ang="0">
                  <a:pos x="560" y="412"/>
                </a:cxn>
                <a:cxn ang="0">
                  <a:pos x="512" y="344"/>
                </a:cxn>
                <a:cxn ang="0">
                  <a:pos x="480" y="304"/>
                </a:cxn>
                <a:cxn ang="0">
                  <a:pos x="486" y="302"/>
                </a:cxn>
                <a:cxn ang="0">
                  <a:pos x="448" y="230"/>
                </a:cxn>
                <a:cxn ang="0">
                  <a:pos x="276" y="240"/>
                </a:cxn>
              </a:cxnLst>
              <a:rect l="0" t="0" r="r" b="b"/>
              <a:pathLst>
                <a:path w="560" h="468">
                  <a:moveTo>
                    <a:pt x="276" y="240"/>
                  </a:moveTo>
                  <a:lnTo>
                    <a:pt x="310" y="90"/>
                  </a:lnTo>
                  <a:lnTo>
                    <a:pt x="280" y="0"/>
                  </a:lnTo>
                  <a:lnTo>
                    <a:pt x="0" y="20"/>
                  </a:lnTo>
                  <a:lnTo>
                    <a:pt x="16" y="154"/>
                  </a:lnTo>
                  <a:lnTo>
                    <a:pt x="84" y="274"/>
                  </a:lnTo>
                  <a:lnTo>
                    <a:pt x="76" y="372"/>
                  </a:lnTo>
                  <a:lnTo>
                    <a:pt x="62" y="416"/>
                  </a:lnTo>
                  <a:lnTo>
                    <a:pt x="174" y="440"/>
                  </a:lnTo>
                  <a:lnTo>
                    <a:pt x="282" y="426"/>
                  </a:lnTo>
                  <a:lnTo>
                    <a:pt x="264" y="468"/>
                  </a:lnTo>
                  <a:lnTo>
                    <a:pt x="354" y="468"/>
                  </a:lnTo>
                  <a:lnTo>
                    <a:pt x="390" y="426"/>
                  </a:lnTo>
                  <a:lnTo>
                    <a:pt x="412" y="454"/>
                  </a:lnTo>
                  <a:lnTo>
                    <a:pt x="480" y="400"/>
                  </a:lnTo>
                  <a:lnTo>
                    <a:pt x="502" y="454"/>
                  </a:lnTo>
                  <a:lnTo>
                    <a:pt x="540" y="454"/>
                  </a:lnTo>
                  <a:lnTo>
                    <a:pt x="560" y="412"/>
                  </a:lnTo>
                  <a:lnTo>
                    <a:pt x="512" y="344"/>
                  </a:lnTo>
                  <a:lnTo>
                    <a:pt x="480" y="304"/>
                  </a:lnTo>
                  <a:lnTo>
                    <a:pt x="486" y="302"/>
                  </a:lnTo>
                  <a:lnTo>
                    <a:pt x="448" y="230"/>
                  </a:lnTo>
                  <a:lnTo>
                    <a:pt x="276" y="24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35" name="Freeform 2856"/>
            <p:cNvSpPr>
              <a:spLocks/>
            </p:cNvSpPr>
            <p:nvPr/>
          </p:nvSpPr>
          <p:spPr bwMode="auto">
            <a:xfrm>
              <a:off x="3452887" y="3385144"/>
              <a:ext cx="812433" cy="915273"/>
            </a:xfrm>
            <a:custGeom>
              <a:avLst/>
              <a:gdLst/>
              <a:ahLst/>
              <a:cxnLst>
                <a:cxn ang="0">
                  <a:pos x="254" y="634"/>
                </a:cxn>
                <a:cxn ang="0">
                  <a:pos x="620" y="642"/>
                </a:cxn>
                <a:cxn ang="0">
                  <a:pos x="612" y="82"/>
                </a:cxn>
                <a:cxn ang="0">
                  <a:pos x="632" y="82"/>
                </a:cxn>
                <a:cxn ang="0">
                  <a:pos x="632" y="14"/>
                </a:cxn>
                <a:cxn ang="0">
                  <a:pos x="40" y="0"/>
                </a:cxn>
                <a:cxn ang="0">
                  <a:pos x="0" y="704"/>
                </a:cxn>
                <a:cxn ang="0">
                  <a:pos x="104" y="712"/>
                </a:cxn>
                <a:cxn ang="0">
                  <a:pos x="104" y="660"/>
                </a:cxn>
                <a:cxn ang="0">
                  <a:pos x="252" y="676"/>
                </a:cxn>
                <a:cxn ang="0">
                  <a:pos x="256" y="678"/>
                </a:cxn>
                <a:cxn ang="0">
                  <a:pos x="252" y="674"/>
                </a:cxn>
                <a:cxn ang="0">
                  <a:pos x="254" y="634"/>
                </a:cxn>
              </a:cxnLst>
              <a:rect l="0" t="0" r="r" b="b"/>
              <a:pathLst>
                <a:path w="632" h="712">
                  <a:moveTo>
                    <a:pt x="254" y="634"/>
                  </a:moveTo>
                  <a:lnTo>
                    <a:pt x="620" y="642"/>
                  </a:lnTo>
                  <a:lnTo>
                    <a:pt x="612" y="82"/>
                  </a:lnTo>
                  <a:lnTo>
                    <a:pt x="632" y="82"/>
                  </a:lnTo>
                  <a:lnTo>
                    <a:pt x="632" y="14"/>
                  </a:lnTo>
                  <a:lnTo>
                    <a:pt x="40" y="0"/>
                  </a:lnTo>
                  <a:lnTo>
                    <a:pt x="0" y="704"/>
                  </a:lnTo>
                  <a:lnTo>
                    <a:pt x="104" y="712"/>
                  </a:lnTo>
                  <a:lnTo>
                    <a:pt x="104" y="660"/>
                  </a:lnTo>
                  <a:lnTo>
                    <a:pt x="252" y="676"/>
                  </a:lnTo>
                  <a:lnTo>
                    <a:pt x="256" y="678"/>
                  </a:lnTo>
                  <a:lnTo>
                    <a:pt x="252" y="674"/>
                  </a:lnTo>
                  <a:lnTo>
                    <a:pt x="254" y="63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36" name="Freeform 2857"/>
            <p:cNvSpPr>
              <a:spLocks/>
            </p:cNvSpPr>
            <p:nvPr/>
          </p:nvSpPr>
          <p:spPr bwMode="auto">
            <a:xfrm>
              <a:off x="3784545" y="3487983"/>
              <a:ext cx="1699425" cy="1699425"/>
            </a:xfrm>
            <a:custGeom>
              <a:avLst/>
              <a:gdLst/>
              <a:ahLst/>
              <a:cxnLst>
                <a:cxn ang="0">
                  <a:pos x="1312" y="726"/>
                </a:cxn>
                <a:cxn ang="0">
                  <a:pos x="1322" y="630"/>
                </a:cxn>
                <a:cxn ang="0">
                  <a:pos x="1252" y="512"/>
                </a:cxn>
                <a:cxn ang="0">
                  <a:pos x="1234" y="376"/>
                </a:cxn>
                <a:cxn ang="0">
                  <a:pos x="1234" y="376"/>
                </a:cxn>
                <a:cxn ang="0">
                  <a:pos x="1234" y="376"/>
                </a:cxn>
                <a:cxn ang="0">
                  <a:pos x="1230" y="338"/>
                </a:cxn>
                <a:cxn ang="0">
                  <a:pos x="1120" y="292"/>
                </a:cxn>
                <a:cxn ang="0">
                  <a:pos x="852" y="304"/>
                </a:cxn>
                <a:cxn ang="0">
                  <a:pos x="644" y="236"/>
                </a:cxn>
                <a:cxn ang="0">
                  <a:pos x="632" y="0"/>
                </a:cxn>
                <a:cxn ang="0">
                  <a:pos x="362" y="10"/>
                </a:cxn>
                <a:cxn ang="0">
                  <a:pos x="370" y="572"/>
                </a:cxn>
                <a:cxn ang="0">
                  <a:pos x="0" y="562"/>
                </a:cxn>
                <a:cxn ang="0">
                  <a:pos x="0" y="600"/>
                </a:cxn>
                <a:cxn ang="0">
                  <a:pos x="174" y="756"/>
                </a:cxn>
                <a:cxn ang="0">
                  <a:pos x="212" y="878"/>
                </a:cxn>
                <a:cxn ang="0">
                  <a:pos x="372" y="958"/>
                </a:cxn>
                <a:cxn ang="0">
                  <a:pos x="442" y="850"/>
                </a:cxn>
                <a:cxn ang="0">
                  <a:pos x="562" y="864"/>
                </a:cxn>
                <a:cxn ang="0">
                  <a:pos x="770" y="1254"/>
                </a:cxn>
                <a:cxn ang="0">
                  <a:pos x="978" y="1322"/>
                </a:cxn>
                <a:cxn ang="0">
                  <a:pos x="1008" y="1268"/>
                </a:cxn>
                <a:cxn ang="0">
                  <a:pos x="968" y="1146"/>
                </a:cxn>
                <a:cxn ang="0">
                  <a:pos x="968" y="1014"/>
                </a:cxn>
                <a:cxn ang="0">
                  <a:pos x="1286" y="768"/>
                </a:cxn>
                <a:cxn ang="0">
                  <a:pos x="1300" y="772"/>
                </a:cxn>
                <a:cxn ang="0">
                  <a:pos x="1298" y="770"/>
                </a:cxn>
                <a:cxn ang="0">
                  <a:pos x="1312" y="726"/>
                </a:cxn>
              </a:cxnLst>
              <a:rect l="0" t="0" r="r" b="b"/>
              <a:pathLst>
                <a:path w="1322" h="1322">
                  <a:moveTo>
                    <a:pt x="1312" y="726"/>
                  </a:moveTo>
                  <a:lnTo>
                    <a:pt x="1322" y="630"/>
                  </a:lnTo>
                  <a:lnTo>
                    <a:pt x="1252" y="512"/>
                  </a:lnTo>
                  <a:lnTo>
                    <a:pt x="1234" y="376"/>
                  </a:lnTo>
                  <a:lnTo>
                    <a:pt x="1234" y="376"/>
                  </a:lnTo>
                  <a:lnTo>
                    <a:pt x="1234" y="376"/>
                  </a:lnTo>
                  <a:lnTo>
                    <a:pt x="1230" y="338"/>
                  </a:lnTo>
                  <a:lnTo>
                    <a:pt x="1120" y="292"/>
                  </a:lnTo>
                  <a:lnTo>
                    <a:pt x="852" y="304"/>
                  </a:lnTo>
                  <a:lnTo>
                    <a:pt x="644" y="236"/>
                  </a:lnTo>
                  <a:lnTo>
                    <a:pt x="632" y="0"/>
                  </a:lnTo>
                  <a:lnTo>
                    <a:pt x="362" y="10"/>
                  </a:lnTo>
                  <a:lnTo>
                    <a:pt x="370" y="572"/>
                  </a:lnTo>
                  <a:lnTo>
                    <a:pt x="0" y="562"/>
                  </a:lnTo>
                  <a:lnTo>
                    <a:pt x="0" y="600"/>
                  </a:lnTo>
                  <a:lnTo>
                    <a:pt x="174" y="756"/>
                  </a:lnTo>
                  <a:lnTo>
                    <a:pt x="212" y="878"/>
                  </a:lnTo>
                  <a:lnTo>
                    <a:pt x="372" y="958"/>
                  </a:lnTo>
                  <a:lnTo>
                    <a:pt x="442" y="850"/>
                  </a:lnTo>
                  <a:lnTo>
                    <a:pt x="562" y="864"/>
                  </a:lnTo>
                  <a:lnTo>
                    <a:pt x="770" y="1254"/>
                  </a:lnTo>
                  <a:lnTo>
                    <a:pt x="978" y="1322"/>
                  </a:lnTo>
                  <a:lnTo>
                    <a:pt x="1008" y="1268"/>
                  </a:lnTo>
                  <a:lnTo>
                    <a:pt x="968" y="1146"/>
                  </a:lnTo>
                  <a:lnTo>
                    <a:pt x="968" y="1014"/>
                  </a:lnTo>
                  <a:lnTo>
                    <a:pt x="1286" y="768"/>
                  </a:lnTo>
                  <a:lnTo>
                    <a:pt x="1300" y="772"/>
                  </a:lnTo>
                  <a:lnTo>
                    <a:pt x="1298" y="770"/>
                  </a:lnTo>
                  <a:lnTo>
                    <a:pt x="1312" y="72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37" name="Freeform 2858"/>
            <p:cNvSpPr>
              <a:spLocks/>
            </p:cNvSpPr>
            <p:nvPr/>
          </p:nvSpPr>
          <p:spPr bwMode="auto">
            <a:xfrm>
              <a:off x="5283432" y="3426280"/>
              <a:ext cx="578473" cy="539908"/>
            </a:xfrm>
            <a:custGeom>
              <a:avLst/>
              <a:gdLst/>
              <a:ahLst/>
              <a:cxnLst>
                <a:cxn ang="0">
                  <a:pos x="72" y="382"/>
                </a:cxn>
                <a:cxn ang="0">
                  <a:pos x="76" y="420"/>
                </a:cxn>
                <a:cxn ang="0">
                  <a:pos x="356" y="400"/>
                </a:cxn>
                <a:cxn ang="0">
                  <a:pos x="346" y="360"/>
                </a:cxn>
                <a:cxn ang="0">
                  <a:pos x="450" y="42"/>
                </a:cxn>
                <a:cxn ang="0">
                  <a:pos x="366" y="48"/>
                </a:cxn>
                <a:cxn ang="0">
                  <a:pos x="384" y="0"/>
                </a:cxn>
                <a:cxn ang="0">
                  <a:pos x="0" y="8"/>
                </a:cxn>
                <a:cxn ang="0">
                  <a:pos x="32" y="366"/>
                </a:cxn>
                <a:cxn ang="0">
                  <a:pos x="72" y="382"/>
                </a:cxn>
              </a:cxnLst>
              <a:rect l="0" t="0" r="r" b="b"/>
              <a:pathLst>
                <a:path w="450" h="420">
                  <a:moveTo>
                    <a:pt x="72" y="382"/>
                  </a:moveTo>
                  <a:lnTo>
                    <a:pt x="76" y="420"/>
                  </a:lnTo>
                  <a:lnTo>
                    <a:pt x="356" y="400"/>
                  </a:lnTo>
                  <a:lnTo>
                    <a:pt x="346" y="360"/>
                  </a:lnTo>
                  <a:lnTo>
                    <a:pt x="450" y="42"/>
                  </a:lnTo>
                  <a:lnTo>
                    <a:pt x="366" y="48"/>
                  </a:lnTo>
                  <a:lnTo>
                    <a:pt x="384" y="0"/>
                  </a:lnTo>
                  <a:lnTo>
                    <a:pt x="0" y="8"/>
                  </a:lnTo>
                  <a:lnTo>
                    <a:pt x="32" y="366"/>
                  </a:lnTo>
                  <a:lnTo>
                    <a:pt x="72" y="38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38" name="Freeform 2859"/>
            <p:cNvSpPr>
              <a:spLocks/>
            </p:cNvSpPr>
            <p:nvPr/>
          </p:nvSpPr>
          <p:spPr bwMode="auto">
            <a:xfrm>
              <a:off x="4273033" y="3367147"/>
              <a:ext cx="1038680" cy="524482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2" y="96"/>
                </a:cxn>
                <a:cxn ang="0">
                  <a:pos x="256" y="88"/>
                </a:cxn>
                <a:cxn ang="0">
                  <a:pos x="270" y="326"/>
                </a:cxn>
                <a:cxn ang="0">
                  <a:pos x="472" y="394"/>
                </a:cxn>
                <a:cxn ang="0">
                  <a:pos x="742" y="380"/>
                </a:cxn>
                <a:cxn ang="0">
                  <a:pos x="808" y="408"/>
                </a:cxn>
                <a:cxn ang="0">
                  <a:pos x="774" y="0"/>
                </a:cxn>
                <a:cxn ang="0">
                  <a:pos x="0" y="28"/>
                </a:cxn>
              </a:cxnLst>
              <a:rect l="0" t="0" r="r" b="b"/>
              <a:pathLst>
                <a:path w="808" h="408">
                  <a:moveTo>
                    <a:pt x="0" y="28"/>
                  </a:moveTo>
                  <a:lnTo>
                    <a:pt x="2" y="96"/>
                  </a:lnTo>
                  <a:lnTo>
                    <a:pt x="256" y="88"/>
                  </a:lnTo>
                  <a:lnTo>
                    <a:pt x="270" y="326"/>
                  </a:lnTo>
                  <a:lnTo>
                    <a:pt x="472" y="394"/>
                  </a:lnTo>
                  <a:lnTo>
                    <a:pt x="742" y="380"/>
                  </a:lnTo>
                  <a:lnTo>
                    <a:pt x="808" y="408"/>
                  </a:lnTo>
                  <a:lnTo>
                    <a:pt x="774" y="0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39" name="Freeform 2860"/>
            <p:cNvSpPr>
              <a:spLocks/>
            </p:cNvSpPr>
            <p:nvPr/>
          </p:nvSpPr>
          <p:spPr bwMode="auto">
            <a:xfrm>
              <a:off x="2915550" y="2521291"/>
              <a:ext cx="642748" cy="858711"/>
            </a:xfrm>
            <a:custGeom>
              <a:avLst/>
              <a:gdLst/>
              <a:ahLst/>
              <a:cxnLst>
                <a:cxn ang="0">
                  <a:pos x="0" y="588"/>
                </a:cxn>
                <a:cxn ang="0">
                  <a:pos x="452" y="668"/>
                </a:cxn>
                <a:cxn ang="0">
                  <a:pos x="500" y="202"/>
                </a:cxn>
                <a:cxn ang="0">
                  <a:pos x="312" y="176"/>
                </a:cxn>
                <a:cxn ang="0">
                  <a:pos x="336" y="54"/>
                </a:cxn>
                <a:cxn ang="0">
                  <a:pos x="76" y="0"/>
                </a:cxn>
                <a:cxn ang="0">
                  <a:pos x="0" y="588"/>
                </a:cxn>
              </a:cxnLst>
              <a:rect l="0" t="0" r="r" b="b"/>
              <a:pathLst>
                <a:path w="500" h="668">
                  <a:moveTo>
                    <a:pt x="0" y="588"/>
                  </a:moveTo>
                  <a:lnTo>
                    <a:pt x="452" y="668"/>
                  </a:lnTo>
                  <a:lnTo>
                    <a:pt x="500" y="202"/>
                  </a:lnTo>
                  <a:lnTo>
                    <a:pt x="312" y="176"/>
                  </a:lnTo>
                  <a:lnTo>
                    <a:pt x="336" y="54"/>
                  </a:lnTo>
                  <a:lnTo>
                    <a:pt x="76" y="0"/>
                  </a:lnTo>
                  <a:lnTo>
                    <a:pt x="0" y="58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40" name="Freeform 2861"/>
            <p:cNvSpPr>
              <a:spLocks/>
            </p:cNvSpPr>
            <p:nvPr/>
          </p:nvSpPr>
          <p:spPr bwMode="auto">
            <a:xfrm>
              <a:off x="5545674" y="1618873"/>
              <a:ext cx="683884" cy="323945"/>
            </a:xfrm>
            <a:custGeom>
              <a:avLst/>
              <a:gdLst/>
              <a:ahLst/>
              <a:cxnLst>
                <a:cxn ang="0">
                  <a:pos x="230" y="214"/>
                </a:cxn>
                <a:cxn ang="0">
                  <a:pos x="236" y="252"/>
                </a:cxn>
                <a:cxn ang="0">
                  <a:pos x="262" y="252"/>
                </a:cxn>
                <a:cxn ang="0">
                  <a:pos x="284" y="200"/>
                </a:cxn>
                <a:cxn ang="0">
                  <a:pos x="362" y="160"/>
                </a:cxn>
                <a:cxn ang="0">
                  <a:pos x="444" y="122"/>
                </a:cxn>
                <a:cxn ang="0">
                  <a:pos x="532" y="122"/>
                </a:cxn>
                <a:cxn ang="0">
                  <a:pos x="444" y="14"/>
                </a:cxn>
                <a:cxn ang="0">
                  <a:pos x="306" y="96"/>
                </a:cxn>
                <a:cxn ang="0">
                  <a:pos x="244" y="106"/>
                </a:cxn>
                <a:cxn ang="0">
                  <a:pos x="206" y="70"/>
                </a:cxn>
                <a:cxn ang="0">
                  <a:pos x="154" y="80"/>
                </a:cxn>
                <a:cxn ang="0">
                  <a:pos x="174" y="0"/>
                </a:cxn>
                <a:cxn ang="0">
                  <a:pos x="4" y="134"/>
                </a:cxn>
                <a:cxn ang="0">
                  <a:pos x="0" y="134"/>
                </a:cxn>
                <a:cxn ang="0">
                  <a:pos x="18" y="186"/>
                </a:cxn>
                <a:cxn ang="0">
                  <a:pos x="230" y="214"/>
                </a:cxn>
              </a:cxnLst>
              <a:rect l="0" t="0" r="r" b="b"/>
              <a:pathLst>
                <a:path w="532" h="252">
                  <a:moveTo>
                    <a:pt x="230" y="214"/>
                  </a:moveTo>
                  <a:lnTo>
                    <a:pt x="236" y="252"/>
                  </a:lnTo>
                  <a:lnTo>
                    <a:pt x="262" y="252"/>
                  </a:lnTo>
                  <a:lnTo>
                    <a:pt x="284" y="200"/>
                  </a:lnTo>
                  <a:lnTo>
                    <a:pt x="362" y="160"/>
                  </a:lnTo>
                  <a:lnTo>
                    <a:pt x="444" y="122"/>
                  </a:lnTo>
                  <a:lnTo>
                    <a:pt x="532" y="122"/>
                  </a:lnTo>
                  <a:lnTo>
                    <a:pt x="444" y="14"/>
                  </a:lnTo>
                  <a:lnTo>
                    <a:pt x="306" y="96"/>
                  </a:lnTo>
                  <a:lnTo>
                    <a:pt x="244" y="106"/>
                  </a:lnTo>
                  <a:lnTo>
                    <a:pt x="206" y="70"/>
                  </a:lnTo>
                  <a:lnTo>
                    <a:pt x="154" y="80"/>
                  </a:lnTo>
                  <a:lnTo>
                    <a:pt x="174" y="0"/>
                  </a:lnTo>
                  <a:lnTo>
                    <a:pt x="4" y="134"/>
                  </a:lnTo>
                  <a:lnTo>
                    <a:pt x="0" y="134"/>
                  </a:lnTo>
                  <a:lnTo>
                    <a:pt x="18" y="186"/>
                  </a:lnTo>
                  <a:lnTo>
                    <a:pt x="230" y="21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41" name="Freeform 2862"/>
            <p:cNvSpPr>
              <a:spLocks/>
            </p:cNvSpPr>
            <p:nvPr/>
          </p:nvSpPr>
          <p:spPr bwMode="auto">
            <a:xfrm>
              <a:off x="3504307" y="2780961"/>
              <a:ext cx="868995" cy="611896"/>
            </a:xfrm>
            <a:custGeom>
              <a:avLst/>
              <a:gdLst/>
              <a:ahLst/>
              <a:cxnLst>
                <a:cxn ang="0">
                  <a:pos x="670" y="118"/>
                </a:cxn>
                <a:cxn ang="0">
                  <a:pos x="662" y="26"/>
                </a:cxn>
                <a:cxn ang="0">
                  <a:pos x="50" y="0"/>
                </a:cxn>
                <a:cxn ang="0">
                  <a:pos x="0" y="466"/>
                </a:cxn>
                <a:cxn ang="0">
                  <a:pos x="594" y="476"/>
                </a:cxn>
                <a:cxn ang="0">
                  <a:pos x="676" y="474"/>
                </a:cxn>
                <a:cxn ang="0">
                  <a:pos x="668" y="118"/>
                </a:cxn>
                <a:cxn ang="0">
                  <a:pos x="670" y="118"/>
                </a:cxn>
              </a:cxnLst>
              <a:rect l="0" t="0" r="r" b="b"/>
              <a:pathLst>
                <a:path w="676" h="476">
                  <a:moveTo>
                    <a:pt x="670" y="118"/>
                  </a:moveTo>
                  <a:lnTo>
                    <a:pt x="662" y="26"/>
                  </a:lnTo>
                  <a:lnTo>
                    <a:pt x="50" y="0"/>
                  </a:lnTo>
                  <a:lnTo>
                    <a:pt x="0" y="466"/>
                  </a:lnTo>
                  <a:lnTo>
                    <a:pt x="594" y="476"/>
                  </a:lnTo>
                  <a:lnTo>
                    <a:pt x="676" y="474"/>
                  </a:lnTo>
                  <a:lnTo>
                    <a:pt x="668" y="118"/>
                  </a:lnTo>
                  <a:lnTo>
                    <a:pt x="670" y="1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42" name="Freeform 2863"/>
            <p:cNvSpPr>
              <a:spLocks/>
            </p:cNvSpPr>
            <p:nvPr/>
          </p:nvSpPr>
          <p:spPr bwMode="auto">
            <a:xfrm>
              <a:off x="1884582" y="2266763"/>
              <a:ext cx="953838" cy="1745703"/>
            </a:xfrm>
            <a:custGeom>
              <a:avLst/>
              <a:gdLst/>
              <a:ahLst/>
              <a:cxnLst>
                <a:cxn ang="0">
                  <a:pos x="694" y="1314"/>
                </a:cxn>
                <a:cxn ang="0">
                  <a:pos x="682" y="1260"/>
                </a:cxn>
                <a:cxn ang="0">
                  <a:pos x="732" y="1150"/>
                </a:cxn>
                <a:cxn ang="0">
                  <a:pos x="742" y="1140"/>
                </a:cxn>
                <a:cxn ang="0">
                  <a:pos x="712" y="1044"/>
                </a:cxn>
                <a:cxn ang="0">
                  <a:pos x="324" y="482"/>
                </a:cxn>
                <a:cxn ang="0">
                  <a:pos x="334" y="454"/>
                </a:cxn>
                <a:cxn ang="0">
                  <a:pos x="324" y="426"/>
                </a:cxn>
                <a:cxn ang="0">
                  <a:pos x="402" y="98"/>
                </a:cxn>
                <a:cxn ang="0">
                  <a:pos x="70" y="8"/>
                </a:cxn>
                <a:cxn ang="0">
                  <a:pos x="68" y="0"/>
                </a:cxn>
                <a:cxn ang="0">
                  <a:pos x="70" y="34"/>
                </a:cxn>
                <a:cxn ang="0">
                  <a:pos x="0" y="156"/>
                </a:cxn>
                <a:cxn ang="0">
                  <a:pos x="42" y="278"/>
                </a:cxn>
                <a:cxn ang="0">
                  <a:pos x="32" y="384"/>
                </a:cxn>
                <a:cxn ang="0">
                  <a:pos x="102" y="534"/>
                </a:cxn>
                <a:cxn ang="0">
                  <a:pos x="102" y="614"/>
                </a:cxn>
                <a:cxn ang="0">
                  <a:pos x="122" y="682"/>
                </a:cxn>
                <a:cxn ang="0">
                  <a:pos x="90" y="734"/>
                </a:cxn>
                <a:cxn ang="0">
                  <a:pos x="190" y="870"/>
                </a:cxn>
                <a:cxn ang="0">
                  <a:pos x="190" y="1006"/>
                </a:cxn>
                <a:cxn ang="0">
                  <a:pos x="360" y="1114"/>
                </a:cxn>
                <a:cxn ang="0">
                  <a:pos x="360" y="1178"/>
                </a:cxn>
                <a:cxn ang="0">
                  <a:pos x="450" y="1236"/>
                </a:cxn>
                <a:cxn ang="0">
                  <a:pos x="450" y="1342"/>
                </a:cxn>
                <a:cxn ang="0">
                  <a:pos x="668" y="1354"/>
                </a:cxn>
                <a:cxn ang="0">
                  <a:pos x="672" y="1358"/>
                </a:cxn>
                <a:cxn ang="0">
                  <a:pos x="668" y="1354"/>
                </a:cxn>
                <a:cxn ang="0">
                  <a:pos x="694" y="1314"/>
                </a:cxn>
              </a:cxnLst>
              <a:rect l="0" t="0" r="r" b="b"/>
              <a:pathLst>
                <a:path w="742" h="1358">
                  <a:moveTo>
                    <a:pt x="694" y="1314"/>
                  </a:moveTo>
                  <a:lnTo>
                    <a:pt x="682" y="1260"/>
                  </a:lnTo>
                  <a:lnTo>
                    <a:pt x="732" y="1150"/>
                  </a:lnTo>
                  <a:lnTo>
                    <a:pt x="742" y="1140"/>
                  </a:lnTo>
                  <a:lnTo>
                    <a:pt x="712" y="1044"/>
                  </a:lnTo>
                  <a:lnTo>
                    <a:pt x="324" y="482"/>
                  </a:lnTo>
                  <a:lnTo>
                    <a:pt x="334" y="454"/>
                  </a:lnTo>
                  <a:lnTo>
                    <a:pt x="324" y="426"/>
                  </a:lnTo>
                  <a:lnTo>
                    <a:pt x="402" y="98"/>
                  </a:lnTo>
                  <a:lnTo>
                    <a:pt x="70" y="8"/>
                  </a:lnTo>
                  <a:lnTo>
                    <a:pt x="68" y="0"/>
                  </a:lnTo>
                  <a:lnTo>
                    <a:pt x="70" y="34"/>
                  </a:lnTo>
                  <a:lnTo>
                    <a:pt x="0" y="156"/>
                  </a:lnTo>
                  <a:lnTo>
                    <a:pt x="42" y="278"/>
                  </a:lnTo>
                  <a:lnTo>
                    <a:pt x="32" y="384"/>
                  </a:lnTo>
                  <a:lnTo>
                    <a:pt x="102" y="534"/>
                  </a:lnTo>
                  <a:lnTo>
                    <a:pt x="102" y="614"/>
                  </a:lnTo>
                  <a:lnTo>
                    <a:pt x="122" y="682"/>
                  </a:lnTo>
                  <a:lnTo>
                    <a:pt x="90" y="734"/>
                  </a:lnTo>
                  <a:lnTo>
                    <a:pt x="190" y="870"/>
                  </a:lnTo>
                  <a:lnTo>
                    <a:pt x="190" y="1006"/>
                  </a:lnTo>
                  <a:lnTo>
                    <a:pt x="360" y="1114"/>
                  </a:lnTo>
                  <a:lnTo>
                    <a:pt x="360" y="1178"/>
                  </a:lnTo>
                  <a:lnTo>
                    <a:pt x="450" y="1236"/>
                  </a:lnTo>
                  <a:lnTo>
                    <a:pt x="450" y="1342"/>
                  </a:lnTo>
                  <a:lnTo>
                    <a:pt x="668" y="1354"/>
                  </a:lnTo>
                  <a:lnTo>
                    <a:pt x="672" y="1358"/>
                  </a:lnTo>
                  <a:lnTo>
                    <a:pt x="668" y="1354"/>
                  </a:lnTo>
                  <a:lnTo>
                    <a:pt x="694" y="131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43" name="Freeform 2864"/>
            <p:cNvSpPr>
              <a:spLocks/>
            </p:cNvSpPr>
            <p:nvPr/>
          </p:nvSpPr>
          <p:spPr bwMode="auto">
            <a:xfrm>
              <a:off x="3321766" y="2089364"/>
              <a:ext cx="843285" cy="707023"/>
            </a:xfrm>
            <a:custGeom>
              <a:avLst/>
              <a:gdLst/>
              <a:ahLst/>
              <a:cxnLst>
                <a:cxn ang="0">
                  <a:pos x="26" y="388"/>
                </a:cxn>
                <a:cxn ang="0">
                  <a:pos x="28" y="388"/>
                </a:cxn>
                <a:cxn ang="0">
                  <a:pos x="0" y="508"/>
                </a:cxn>
                <a:cxn ang="0">
                  <a:pos x="192" y="536"/>
                </a:cxn>
                <a:cxn ang="0">
                  <a:pos x="650" y="550"/>
                </a:cxn>
                <a:cxn ang="0">
                  <a:pos x="656" y="40"/>
                </a:cxn>
                <a:cxn ang="0">
                  <a:pos x="64" y="0"/>
                </a:cxn>
                <a:cxn ang="0">
                  <a:pos x="26" y="388"/>
                </a:cxn>
              </a:cxnLst>
              <a:rect l="0" t="0" r="r" b="b"/>
              <a:pathLst>
                <a:path w="656" h="550">
                  <a:moveTo>
                    <a:pt x="26" y="388"/>
                  </a:moveTo>
                  <a:lnTo>
                    <a:pt x="28" y="388"/>
                  </a:lnTo>
                  <a:lnTo>
                    <a:pt x="0" y="508"/>
                  </a:lnTo>
                  <a:lnTo>
                    <a:pt x="192" y="536"/>
                  </a:lnTo>
                  <a:lnTo>
                    <a:pt x="650" y="550"/>
                  </a:lnTo>
                  <a:lnTo>
                    <a:pt x="656" y="40"/>
                  </a:lnTo>
                  <a:lnTo>
                    <a:pt x="64" y="0"/>
                  </a:lnTo>
                  <a:lnTo>
                    <a:pt x="26" y="38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44" name="Freeform 2865"/>
            <p:cNvSpPr>
              <a:spLocks/>
            </p:cNvSpPr>
            <p:nvPr/>
          </p:nvSpPr>
          <p:spPr bwMode="auto">
            <a:xfrm>
              <a:off x="5828483" y="3184606"/>
              <a:ext cx="979548" cy="416501"/>
            </a:xfrm>
            <a:custGeom>
              <a:avLst/>
              <a:gdLst/>
              <a:ahLst/>
              <a:cxnLst>
                <a:cxn ang="0">
                  <a:pos x="206" y="304"/>
                </a:cxn>
                <a:cxn ang="0">
                  <a:pos x="554" y="246"/>
                </a:cxn>
                <a:cxn ang="0">
                  <a:pos x="580" y="154"/>
                </a:cxn>
                <a:cxn ang="0">
                  <a:pos x="752" y="30"/>
                </a:cxn>
                <a:cxn ang="0">
                  <a:pos x="762" y="0"/>
                </a:cxn>
                <a:cxn ang="0">
                  <a:pos x="762" y="0"/>
                </a:cxn>
                <a:cxn ang="0">
                  <a:pos x="332" y="88"/>
                </a:cxn>
                <a:cxn ang="0">
                  <a:pos x="54" y="134"/>
                </a:cxn>
                <a:cxn ang="0">
                  <a:pos x="32" y="134"/>
                </a:cxn>
                <a:cxn ang="0">
                  <a:pos x="32" y="230"/>
                </a:cxn>
                <a:cxn ang="0">
                  <a:pos x="30" y="230"/>
                </a:cxn>
                <a:cxn ang="0">
                  <a:pos x="0" y="324"/>
                </a:cxn>
                <a:cxn ang="0">
                  <a:pos x="206" y="304"/>
                </a:cxn>
              </a:cxnLst>
              <a:rect l="0" t="0" r="r" b="b"/>
              <a:pathLst>
                <a:path w="762" h="324">
                  <a:moveTo>
                    <a:pt x="206" y="304"/>
                  </a:moveTo>
                  <a:lnTo>
                    <a:pt x="554" y="246"/>
                  </a:lnTo>
                  <a:lnTo>
                    <a:pt x="580" y="154"/>
                  </a:lnTo>
                  <a:lnTo>
                    <a:pt x="752" y="30"/>
                  </a:lnTo>
                  <a:lnTo>
                    <a:pt x="762" y="0"/>
                  </a:lnTo>
                  <a:lnTo>
                    <a:pt x="762" y="0"/>
                  </a:lnTo>
                  <a:lnTo>
                    <a:pt x="332" y="88"/>
                  </a:lnTo>
                  <a:lnTo>
                    <a:pt x="54" y="134"/>
                  </a:lnTo>
                  <a:lnTo>
                    <a:pt x="32" y="134"/>
                  </a:lnTo>
                  <a:lnTo>
                    <a:pt x="32" y="230"/>
                  </a:lnTo>
                  <a:lnTo>
                    <a:pt x="30" y="230"/>
                  </a:lnTo>
                  <a:lnTo>
                    <a:pt x="0" y="324"/>
                  </a:lnTo>
                  <a:lnTo>
                    <a:pt x="206" y="30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45" name="Freeform 2866"/>
            <p:cNvSpPr>
              <a:spLocks/>
            </p:cNvSpPr>
            <p:nvPr/>
          </p:nvSpPr>
          <p:spPr bwMode="auto">
            <a:xfrm>
              <a:off x="6545789" y="2963501"/>
              <a:ext cx="1012971" cy="537337"/>
            </a:xfrm>
            <a:custGeom>
              <a:avLst/>
              <a:gdLst/>
              <a:ahLst/>
              <a:cxnLst>
                <a:cxn ang="0">
                  <a:pos x="196" y="202"/>
                </a:cxn>
                <a:cxn ang="0">
                  <a:pos x="26" y="326"/>
                </a:cxn>
                <a:cxn ang="0">
                  <a:pos x="0" y="418"/>
                </a:cxn>
                <a:cxn ang="0">
                  <a:pos x="62" y="408"/>
                </a:cxn>
                <a:cxn ang="0">
                  <a:pos x="312" y="310"/>
                </a:cxn>
                <a:cxn ang="0">
                  <a:pos x="344" y="344"/>
                </a:cxn>
                <a:cxn ang="0">
                  <a:pos x="424" y="326"/>
                </a:cxn>
                <a:cxn ang="0">
                  <a:pos x="558" y="414"/>
                </a:cxn>
                <a:cxn ang="0">
                  <a:pos x="560" y="408"/>
                </a:cxn>
                <a:cxn ang="0">
                  <a:pos x="628" y="368"/>
                </a:cxn>
                <a:cxn ang="0">
                  <a:pos x="628" y="328"/>
                </a:cxn>
                <a:cxn ang="0">
                  <a:pos x="678" y="248"/>
                </a:cxn>
                <a:cxn ang="0">
                  <a:pos x="738" y="248"/>
                </a:cxn>
                <a:cxn ang="0">
                  <a:pos x="788" y="128"/>
                </a:cxn>
                <a:cxn ang="0">
                  <a:pos x="788" y="46"/>
                </a:cxn>
                <a:cxn ang="0">
                  <a:pos x="754" y="0"/>
                </a:cxn>
                <a:cxn ang="0">
                  <a:pos x="208" y="170"/>
                </a:cxn>
                <a:cxn ang="0">
                  <a:pos x="196" y="202"/>
                </a:cxn>
              </a:cxnLst>
              <a:rect l="0" t="0" r="r" b="b"/>
              <a:pathLst>
                <a:path w="788" h="418">
                  <a:moveTo>
                    <a:pt x="196" y="202"/>
                  </a:moveTo>
                  <a:lnTo>
                    <a:pt x="26" y="326"/>
                  </a:lnTo>
                  <a:lnTo>
                    <a:pt x="0" y="418"/>
                  </a:lnTo>
                  <a:lnTo>
                    <a:pt x="62" y="408"/>
                  </a:lnTo>
                  <a:lnTo>
                    <a:pt x="312" y="310"/>
                  </a:lnTo>
                  <a:lnTo>
                    <a:pt x="344" y="344"/>
                  </a:lnTo>
                  <a:lnTo>
                    <a:pt x="424" y="326"/>
                  </a:lnTo>
                  <a:lnTo>
                    <a:pt x="558" y="414"/>
                  </a:lnTo>
                  <a:lnTo>
                    <a:pt x="560" y="408"/>
                  </a:lnTo>
                  <a:lnTo>
                    <a:pt x="628" y="368"/>
                  </a:lnTo>
                  <a:lnTo>
                    <a:pt x="628" y="328"/>
                  </a:lnTo>
                  <a:lnTo>
                    <a:pt x="678" y="248"/>
                  </a:lnTo>
                  <a:lnTo>
                    <a:pt x="738" y="248"/>
                  </a:lnTo>
                  <a:lnTo>
                    <a:pt x="788" y="128"/>
                  </a:lnTo>
                  <a:lnTo>
                    <a:pt x="788" y="46"/>
                  </a:lnTo>
                  <a:lnTo>
                    <a:pt x="754" y="0"/>
                  </a:lnTo>
                  <a:lnTo>
                    <a:pt x="208" y="170"/>
                  </a:lnTo>
                  <a:lnTo>
                    <a:pt x="196" y="20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46" name="Freeform 2867"/>
            <p:cNvSpPr>
              <a:spLocks/>
            </p:cNvSpPr>
            <p:nvPr/>
          </p:nvSpPr>
          <p:spPr bwMode="auto">
            <a:xfrm>
              <a:off x="7551047" y="2158781"/>
              <a:ext cx="141405" cy="97698"/>
            </a:xfrm>
            <a:custGeom>
              <a:avLst/>
              <a:gdLst/>
              <a:ahLst/>
              <a:cxnLst>
                <a:cxn ang="0">
                  <a:pos x="14" y="38"/>
                </a:cxn>
                <a:cxn ang="0">
                  <a:pos x="0" y="76"/>
                </a:cxn>
                <a:cxn ang="0">
                  <a:pos x="46" y="52"/>
                </a:cxn>
                <a:cxn ang="0">
                  <a:pos x="106" y="12"/>
                </a:cxn>
                <a:cxn ang="0">
                  <a:pos x="110" y="0"/>
                </a:cxn>
                <a:cxn ang="0">
                  <a:pos x="98" y="0"/>
                </a:cxn>
                <a:cxn ang="0">
                  <a:pos x="14" y="38"/>
                </a:cxn>
              </a:cxnLst>
              <a:rect l="0" t="0" r="r" b="b"/>
              <a:pathLst>
                <a:path w="110" h="76">
                  <a:moveTo>
                    <a:pt x="14" y="38"/>
                  </a:moveTo>
                  <a:lnTo>
                    <a:pt x="0" y="76"/>
                  </a:lnTo>
                  <a:lnTo>
                    <a:pt x="46" y="52"/>
                  </a:lnTo>
                  <a:lnTo>
                    <a:pt x="106" y="12"/>
                  </a:lnTo>
                  <a:lnTo>
                    <a:pt x="110" y="0"/>
                  </a:lnTo>
                  <a:lnTo>
                    <a:pt x="98" y="0"/>
                  </a:lnTo>
                  <a:lnTo>
                    <a:pt x="14" y="3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47" name="Freeform 2868"/>
            <p:cNvSpPr>
              <a:spLocks/>
            </p:cNvSpPr>
            <p:nvPr/>
          </p:nvSpPr>
          <p:spPr bwMode="auto">
            <a:xfrm>
              <a:off x="4365589" y="2924936"/>
              <a:ext cx="899847" cy="465349"/>
            </a:xfrm>
            <a:custGeom>
              <a:avLst/>
              <a:gdLst/>
              <a:ahLst/>
              <a:cxnLst>
                <a:cxn ang="0">
                  <a:pos x="626" y="62"/>
                </a:cxn>
                <a:cxn ang="0">
                  <a:pos x="642" y="0"/>
                </a:cxn>
                <a:cxn ang="0">
                  <a:pos x="606" y="0"/>
                </a:cxn>
                <a:cxn ang="0">
                  <a:pos x="608" y="0"/>
                </a:cxn>
                <a:cxn ang="0">
                  <a:pos x="0" y="8"/>
                </a:cxn>
                <a:cxn ang="0">
                  <a:pos x="10" y="362"/>
                </a:cxn>
                <a:cxn ang="0">
                  <a:pos x="700" y="338"/>
                </a:cxn>
                <a:cxn ang="0">
                  <a:pos x="680" y="90"/>
                </a:cxn>
                <a:cxn ang="0">
                  <a:pos x="626" y="62"/>
                </a:cxn>
              </a:cxnLst>
              <a:rect l="0" t="0" r="r" b="b"/>
              <a:pathLst>
                <a:path w="700" h="362">
                  <a:moveTo>
                    <a:pt x="626" y="62"/>
                  </a:moveTo>
                  <a:lnTo>
                    <a:pt x="642" y="0"/>
                  </a:lnTo>
                  <a:lnTo>
                    <a:pt x="606" y="0"/>
                  </a:lnTo>
                  <a:lnTo>
                    <a:pt x="608" y="0"/>
                  </a:lnTo>
                  <a:lnTo>
                    <a:pt x="0" y="8"/>
                  </a:lnTo>
                  <a:lnTo>
                    <a:pt x="10" y="362"/>
                  </a:lnTo>
                  <a:lnTo>
                    <a:pt x="700" y="338"/>
                  </a:lnTo>
                  <a:lnTo>
                    <a:pt x="680" y="90"/>
                  </a:lnTo>
                  <a:lnTo>
                    <a:pt x="626" y="6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48" name="Freeform 2869"/>
            <p:cNvSpPr>
              <a:spLocks/>
            </p:cNvSpPr>
            <p:nvPr/>
          </p:nvSpPr>
          <p:spPr bwMode="auto">
            <a:xfrm>
              <a:off x="6011023" y="1824552"/>
              <a:ext cx="501343" cy="655603"/>
            </a:xfrm>
            <a:custGeom>
              <a:avLst/>
              <a:gdLst/>
              <a:ahLst/>
              <a:cxnLst>
                <a:cxn ang="0">
                  <a:pos x="350" y="464"/>
                </a:cxn>
                <a:cxn ang="0">
                  <a:pos x="338" y="460"/>
                </a:cxn>
                <a:cxn ang="0">
                  <a:pos x="390" y="284"/>
                </a:cxn>
                <a:cxn ang="0">
                  <a:pos x="320" y="164"/>
                </a:cxn>
                <a:cxn ang="0">
                  <a:pos x="280" y="190"/>
                </a:cxn>
                <a:cxn ang="0">
                  <a:pos x="250" y="14"/>
                </a:cxn>
                <a:cxn ang="0">
                  <a:pos x="100" y="0"/>
                </a:cxn>
                <a:cxn ang="0">
                  <a:pos x="100" y="28"/>
                </a:cxn>
                <a:cxn ang="0">
                  <a:pos x="22" y="124"/>
                </a:cxn>
                <a:cxn ang="0">
                  <a:pos x="0" y="232"/>
                </a:cxn>
                <a:cxn ang="0">
                  <a:pos x="12" y="272"/>
                </a:cxn>
                <a:cxn ang="0">
                  <a:pos x="50" y="378"/>
                </a:cxn>
                <a:cxn ang="0">
                  <a:pos x="50" y="486"/>
                </a:cxn>
                <a:cxn ang="0">
                  <a:pos x="24" y="510"/>
                </a:cxn>
                <a:cxn ang="0">
                  <a:pos x="212" y="506"/>
                </a:cxn>
                <a:cxn ang="0">
                  <a:pos x="350" y="464"/>
                </a:cxn>
              </a:cxnLst>
              <a:rect l="0" t="0" r="r" b="b"/>
              <a:pathLst>
                <a:path w="390" h="510">
                  <a:moveTo>
                    <a:pt x="350" y="464"/>
                  </a:moveTo>
                  <a:lnTo>
                    <a:pt x="338" y="460"/>
                  </a:lnTo>
                  <a:lnTo>
                    <a:pt x="390" y="284"/>
                  </a:lnTo>
                  <a:lnTo>
                    <a:pt x="320" y="164"/>
                  </a:lnTo>
                  <a:lnTo>
                    <a:pt x="280" y="190"/>
                  </a:lnTo>
                  <a:lnTo>
                    <a:pt x="250" y="14"/>
                  </a:lnTo>
                  <a:lnTo>
                    <a:pt x="100" y="0"/>
                  </a:lnTo>
                  <a:lnTo>
                    <a:pt x="100" y="28"/>
                  </a:lnTo>
                  <a:lnTo>
                    <a:pt x="22" y="124"/>
                  </a:lnTo>
                  <a:lnTo>
                    <a:pt x="0" y="232"/>
                  </a:lnTo>
                  <a:lnTo>
                    <a:pt x="12" y="272"/>
                  </a:lnTo>
                  <a:lnTo>
                    <a:pt x="50" y="378"/>
                  </a:lnTo>
                  <a:lnTo>
                    <a:pt x="50" y="486"/>
                  </a:lnTo>
                  <a:lnTo>
                    <a:pt x="24" y="510"/>
                  </a:lnTo>
                  <a:lnTo>
                    <a:pt x="212" y="506"/>
                  </a:lnTo>
                  <a:lnTo>
                    <a:pt x="350" y="46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49" name="Freeform 2870"/>
            <p:cNvSpPr>
              <a:spLocks/>
            </p:cNvSpPr>
            <p:nvPr/>
          </p:nvSpPr>
          <p:spPr bwMode="auto">
            <a:xfrm>
              <a:off x="2308796" y="2392741"/>
              <a:ext cx="694168" cy="1210937"/>
            </a:xfrm>
            <a:custGeom>
              <a:avLst/>
              <a:gdLst/>
              <a:ahLst/>
              <a:cxnLst>
                <a:cxn ang="0">
                  <a:pos x="468" y="688"/>
                </a:cxn>
                <a:cxn ang="0">
                  <a:pos x="540" y="98"/>
                </a:cxn>
                <a:cxn ang="0">
                  <a:pos x="302" y="50"/>
                </a:cxn>
                <a:cxn ang="0">
                  <a:pos x="302" y="46"/>
                </a:cxn>
                <a:cxn ang="0">
                  <a:pos x="76" y="0"/>
                </a:cxn>
                <a:cxn ang="0">
                  <a:pos x="0" y="328"/>
                </a:cxn>
                <a:cxn ang="0">
                  <a:pos x="10" y="356"/>
                </a:cxn>
                <a:cxn ang="0">
                  <a:pos x="0" y="384"/>
                </a:cxn>
                <a:cxn ang="0">
                  <a:pos x="384" y="942"/>
                </a:cxn>
                <a:cxn ang="0">
                  <a:pos x="414" y="794"/>
                </a:cxn>
                <a:cxn ang="0">
                  <a:pos x="454" y="806"/>
                </a:cxn>
                <a:cxn ang="0">
                  <a:pos x="468" y="688"/>
                </a:cxn>
                <a:cxn ang="0">
                  <a:pos x="468" y="688"/>
                </a:cxn>
                <a:cxn ang="0">
                  <a:pos x="468" y="688"/>
                </a:cxn>
              </a:cxnLst>
              <a:rect l="0" t="0" r="r" b="b"/>
              <a:pathLst>
                <a:path w="540" h="942">
                  <a:moveTo>
                    <a:pt x="468" y="688"/>
                  </a:moveTo>
                  <a:lnTo>
                    <a:pt x="540" y="98"/>
                  </a:lnTo>
                  <a:lnTo>
                    <a:pt x="302" y="50"/>
                  </a:lnTo>
                  <a:lnTo>
                    <a:pt x="302" y="46"/>
                  </a:lnTo>
                  <a:lnTo>
                    <a:pt x="76" y="0"/>
                  </a:lnTo>
                  <a:lnTo>
                    <a:pt x="0" y="328"/>
                  </a:lnTo>
                  <a:lnTo>
                    <a:pt x="10" y="356"/>
                  </a:lnTo>
                  <a:lnTo>
                    <a:pt x="0" y="384"/>
                  </a:lnTo>
                  <a:lnTo>
                    <a:pt x="384" y="942"/>
                  </a:lnTo>
                  <a:lnTo>
                    <a:pt x="414" y="794"/>
                  </a:lnTo>
                  <a:lnTo>
                    <a:pt x="454" y="806"/>
                  </a:lnTo>
                  <a:lnTo>
                    <a:pt x="468" y="688"/>
                  </a:lnTo>
                  <a:lnTo>
                    <a:pt x="468" y="688"/>
                  </a:lnTo>
                  <a:lnTo>
                    <a:pt x="468" y="68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50" name="Freeform 2871"/>
            <p:cNvSpPr>
              <a:spLocks/>
            </p:cNvSpPr>
            <p:nvPr/>
          </p:nvSpPr>
          <p:spPr bwMode="auto">
            <a:xfrm>
              <a:off x="7664170" y="1947960"/>
              <a:ext cx="110553" cy="200537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26" y="156"/>
                </a:cxn>
                <a:cxn ang="0">
                  <a:pos x="48" y="108"/>
                </a:cxn>
                <a:cxn ang="0">
                  <a:pos x="86" y="40"/>
                </a:cxn>
                <a:cxn ang="0">
                  <a:pos x="50" y="0"/>
                </a:cxn>
                <a:cxn ang="0">
                  <a:pos x="0" y="18"/>
                </a:cxn>
              </a:cxnLst>
              <a:rect l="0" t="0" r="r" b="b"/>
              <a:pathLst>
                <a:path w="86" h="156">
                  <a:moveTo>
                    <a:pt x="0" y="18"/>
                  </a:moveTo>
                  <a:lnTo>
                    <a:pt x="26" y="156"/>
                  </a:lnTo>
                  <a:lnTo>
                    <a:pt x="48" y="108"/>
                  </a:lnTo>
                  <a:lnTo>
                    <a:pt x="86" y="40"/>
                  </a:lnTo>
                  <a:lnTo>
                    <a:pt x="50" y="0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51" name="Freeform 2872"/>
            <p:cNvSpPr>
              <a:spLocks/>
            </p:cNvSpPr>
            <p:nvPr/>
          </p:nvSpPr>
          <p:spPr bwMode="auto">
            <a:xfrm>
              <a:off x="6599780" y="2608704"/>
              <a:ext cx="912702" cy="609325"/>
            </a:xfrm>
            <a:custGeom>
              <a:avLst/>
              <a:gdLst/>
              <a:ahLst/>
              <a:cxnLst>
                <a:cxn ang="0">
                  <a:pos x="492" y="106"/>
                </a:cxn>
                <a:cxn ang="0">
                  <a:pos x="502" y="26"/>
                </a:cxn>
                <a:cxn ang="0">
                  <a:pos x="442" y="0"/>
                </a:cxn>
                <a:cxn ang="0">
                  <a:pos x="424" y="26"/>
                </a:cxn>
                <a:cxn ang="0">
                  <a:pos x="386" y="26"/>
                </a:cxn>
                <a:cxn ang="0">
                  <a:pos x="344" y="84"/>
                </a:cxn>
                <a:cxn ang="0">
                  <a:pos x="314" y="158"/>
                </a:cxn>
                <a:cxn ang="0">
                  <a:pos x="286" y="132"/>
                </a:cxn>
                <a:cxn ang="0">
                  <a:pos x="256" y="296"/>
                </a:cxn>
                <a:cxn ang="0">
                  <a:pos x="184" y="340"/>
                </a:cxn>
                <a:cxn ang="0">
                  <a:pos x="112" y="306"/>
                </a:cxn>
                <a:cxn ang="0">
                  <a:pos x="60" y="402"/>
                </a:cxn>
                <a:cxn ang="0">
                  <a:pos x="0" y="474"/>
                </a:cxn>
                <a:cxn ang="0">
                  <a:pos x="164" y="444"/>
                </a:cxn>
                <a:cxn ang="0">
                  <a:pos x="710" y="272"/>
                </a:cxn>
                <a:cxn ang="0">
                  <a:pos x="666" y="214"/>
                </a:cxn>
                <a:cxn ang="0">
                  <a:pos x="698" y="96"/>
                </a:cxn>
                <a:cxn ang="0">
                  <a:pos x="614" y="116"/>
                </a:cxn>
                <a:cxn ang="0">
                  <a:pos x="492" y="106"/>
                </a:cxn>
              </a:cxnLst>
              <a:rect l="0" t="0" r="r" b="b"/>
              <a:pathLst>
                <a:path w="710" h="474">
                  <a:moveTo>
                    <a:pt x="492" y="106"/>
                  </a:moveTo>
                  <a:lnTo>
                    <a:pt x="502" y="26"/>
                  </a:lnTo>
                  <a:lnTo>
                    <a:pt x="442" y="0"/>
                  </a:lnTo>
                  <a:lnTo>
                    <a:pt x="424" y="26"/>
                  </a:lnTo>
                  <a:lnTo>
                    <a:pt x="386" y="26"/>
                  </a:lnTo>
                  <a:lnTo>
                    <a:pt x="344" y="84"/>
                  </a:lnTo>
                  <a:lnTo>
                    <a:pt x="314" y="158"/>
                  </a:lnTo>
                  <a:lnTo>
                    <a:pt x="286" y="132"/>
                  </a:lnTo>
                  <a:lnTo>
                    <a:pt x="256" y="296"/>
                  </a:lnTo>
                  <a:lnTo>
                    <a:pt x="184" y="340"/>
                  </a:lnTo>
                  <a:lnTo>
                    <a:pt x="112" y="306"/>
                  </a:lnTo>
                  <a:lnTo>
                    <a:pt x="60" y="402"/>
                  </a:lnTo>
                  <a:lnTo>
                    <a:pt x="0" y="474"/>
                  </a:lnTo>
                  <a:lnTo>
                    <a:pt x="164" y="444"/>
                  </a:lnTo>
                  <a:lnTo>
                    <a:pt x="710" y="272"/>
                  </a:lnTo>
                  <a:lnTo>
                    <a:pt x="666" y="214"/>
                  </a:lnTo>
                  <a:lnTo>
                    <a:pt x="698" y="96"/>
                  </a:lnTo>
                  <a:lnTo>
                    <a:pt x="614" y="116"/>
                  </a:lnTo>
                  <a:lnTo>
                    <a:pt x="492" y="10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52" name="Freeform 2873"/>
            <p:cNvSpPr>
              <a:spLocks/>
            </p:cNvSpPr>
            <p:nvPr/>
          </p:nvSpPr>
          <p:spPr bwMode="auto">
            <a:xfrm>
              <a:off x="6939151" y="2469871"/>
              <a:ext cx="568189" cy="285380"/>
            </a:xfrm>
            <a:custGeom>
              <a:avLst/>
              <a:gdLst/>
              <a:ahLst/>
              <a:cxnLst>
                <a:cxn ang="0">
                  <a:pos x="316" y="0"/>
                </a:cxn>
                <a:cxn ang="0">
                  <a:pos x="0" y="108"/>
                </a:cxn>
                <a:cxn ang="0">
                  <a:pos x="24" y="150"/>
                </a:cxn>
                <a:cxn ang="0">
                  <a:pos x="126" y="94"/>
                </a:cxn>
                <a:cxn ang="0">
                  <a:pos x="178" y="106"/>
                </a:cxn>
                <a:cxn ang="0">
                  <a:pos x="178" y="104"/>
                </a:cxn>
                <a:cxn ang="0">
                  <a:pos x="180" y="106"/>
                </a:cxn>
                <a:cxn ang="0">
                  <a:pos x="180" y="106"/>
                </a:cxn>
                <a:cxn ang="0">
                  <a:pos x="242" y="132"/>
                </a:cxn>
                <a:cxn ang="0">
                  <a:pos x="232" y="212"/>
                </a:cxn>
                <a:cxn ang="0">
                  <a:pos x="354" y="222"/>
                </a:cxn>
                <a:cxn ang="0">
                  <a:pos x="436" y="200"/>
                </a:cxn>
                <a:cxn ang="0">
                  <a:pos x="442" y="174"/>
                </a:cxn>
                <a:cxn ang="0">
                  <a:pos x="442" y="134"/>
                </a:cxn>
                <a:cxn ang="0">
                  <a:pos x="374" y="162"/>
                </a:cxn>
                <a:cxn ang="0">
                  <a:pos x="316" y="0"/>
                </a:cxn>
              </a:cxnLst>
              <a:rect l="0" t="0" r="r" b="b"/>
              <a:pathLst>
                <a:path w="442" h="222">
                  <a:moveTo>
                    <a:pt x="316" y="0"/>
                  </a:moveTo>
                  <a:lnTo>
                    <a:pt x="0" y="108"/>
                  </a:lnTo>
                  <a:lnTo>
                    <a:pt x="24" y="150"/>
                  </a:lnTo>
                  <a:lnTo>
                    <a:pt x="126" y="94"/>
                  </a:lnTo>
                  <a:lnTo>
                    <a:pt x="178" y="106"/>
                  </a:lnTo>
                  <a:lnTo>
                    <a:pt x="178" y="104"/>
                  </a:lnTo>
                  <a:lnTo>
                    <a:pt x="180" y="106"/>
                  </a:lnTo>
                  <a:lnTo>
                    <a:pt x="180" y="106"/>
                  </a:lnTo>
                  <a:lnTo>
                    <a:pt x="242" y="132"/>
                  </a:lnTo>
                  <a:lnTo>
                    <a:pt x="232" y="212"/>
                  </a:lnTo>
                  <a:lnTo>
                    <a:pt x="354" y="222"/>
                  </a:lnTo>
                  <a:lnTo>
                    <a:pt x="436" y="200"/>
                  </a:lnTo>
                  <a:lnTo>
                    <a:pt x="442" y="174"/>
                  </a:lnTo>
                  <a:lnTo>
                    <a:pt x="442" y="134"/>
                  </a:lnTo>
                  <a:lnTo>
                    <a:pt x="374" y="162"/>
                  </a:lnTo>
                  <a:lnTo>
                    <a:pt x="31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53" name="Freeform 2874"/>
            <p:cNvSpPr>
              <a:spLocks/>
            </p:cNvSpPr>
            <p:nvPr/>
          </p:nvSpPr>
          <p:spPr bwMode="auto">
            <a:xfrm>
              <a:off x="4363018" y="2932649"/>
              <a:ext cx="15426" cy="457636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8" y="356"/>
                </a:cxn>
                <a:cxn ang="0">
                  <a:pos x="12" y="356"/>
                </a:cxn>
                <a:cxn ang="0">
                  <a:pos x="2" y="2"/>
                </a:cxn>
                <a:cxn ang="0">
                  <a:pos x="2" y="2"/>
                </a:cxn>
              </a:cxnLst>
              <a:rect l="0" t="0" r="r" b="b"/>
              <a:pathLst>
                <a:path w="12" h="356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8" y="356"/>
                  </a:lnTo>
                  <a:lnTo>
                    <a:pt x="12" y="356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54" name="Freeform 2875"/>
            <p:cNvSpPr>
              <a:spLocks/>
            </p:cNvSpPr>
            <p:nvPr/>
          </p:nvSpPr>
          <p:spPr bwMode="auto">
            <a:xfrm>
              <a:off x="5103463" y="2834952"/>
              <a:ext cx="2571" cy="25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55" name="Freeform 2876"/>
            <p:cNvSpPr>
              <a:spLocks/>
            </p:cNvSpPr>
            <p:nvPr/>
          </p:nvSpPr>
          <p:spPr bwMode="auto">
            <a:xfrm>
              <a:off x="5113747" y="2822097"/>
              <a:ext cx="444781" cy="15426"/>
            </a:xfrm>
            <a:custGeom>
              <a:avLst/>
              <a:gdLst/>
              <a:ahLst/>
              <a:cxnLst>
                <a:cxn ang="0">
                  <a:pos x="346" y="0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346" y="4"/>
                </a:cxn>
                <a:cxn ang="0">
                  <a:pos x="346" y="0"/>
                </a:cxn>
              </a:cxnLst>
              <a:rect l="0" t="0" r="r" b="b"/>
              <a:pathLst>
                <a:path w="346" h="12">
                  <a:moveTo>
                    <a:pt x="346" y="0"/>
                  </a:moveTo>
                  <a:lnTo>
                    <a:pt x="0" y="10"/>
                  </a:lnTo>
                  <a:lnTo>
                    <a:pt x="0" y="12"/>
                  </a:lnTo>
                  <a:lnTo>
                    <a:pt x="346" y="4"/>
                  </a:lnTo>
                  <a:lnTo>
                    <a:pt x="34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56" name="Rectangle 2877"/>
            <p:cNvSpPr>
              <a:spLocks noChangeArrowheads="1"/>
            </p:cNvSpPr>
            <p:nvPr/>
          </p:nvSpPr>
          <p:spPr bwMode="auto">
            <a:xfrm>
              <a:off x="6157569" y="4300416"/>
              <a:ext cx="2571" cy="5142"/>
            </a:xfrm>
            <a:prstGeom prst="rect">
              <a:avLst/>
            </a:prstGeom>
            <a:grpFill/>
            <a:ln w="127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57" name="Freeform 2878"/>
            <p:cNvSpPr>
              <a:spLocks/>
            </p:cNvSpPr>
            <p:nvPr/>
          </p:nvSpPr>
          <p:spPr bwMode="auto">
            <a:xfrm>
              <a:off x="6090724" y="3583110"/>
              <a:ext cx="69417" cy="71730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2" y="558"/>
                </a:cxn>
                <a:cxn ang="0">
                  <a:pos x="54" y="558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54" h="558">
                  <a:moveTo>
                    <a:pt x="0" y="0"/>
                  </a:moveTo>
                  <a:lnTo>
                    <a:pt x="52" y="558"/>
                  </a:lnTo>
                  <a:lnTo>
                    <a:pt x="54" y="558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58" name="Freeform 2879"/>
            <p:cNvSpPr>
              <a:spLocks/>
            </p:cNvSpPr>
            <p:nvPr/>
          </p:nvSpPr>
          <p:spPr bwMode="auto">
            <a:xfrm>
              <a:off x="6540647" y="3182035"/>
              <a:ext cx="272525" cy="318803"/>
            </a:xfrm>
            <a:custGeom>
              <a:avLst/>
              <a:gdLst/>
              <a:ahLst/>
              <a:cxnLst>
                <a:cxn ang="0">
                  <a:pos x="26" y="156"/>
                </a:cxn>
                <a:cxn ang="0">
                  <a:pos x="0" y="248"/>
                </a:cxn>
                <a:cxn ang="0">
                  <a:pos x="4" y="248"/>
                </a:cxn>
                <a:cxn ang="0">
                  <a:pos x="30" y="156"/>
                </a:cxn>
                <a:cxn ang="0">
                  <a:pos x="200" y="32"/>
                </a:cxn>
                <a:cxn ang="0">
                  <a:pos x="212" y="0"/>
                </a:cxn>
                <a:cxn ang="0">
                  <a:pos x="208" y="2"/>
                </a:cxn>
                <a:cxn ang="0">
                  <a:pos x="198" y="32"/>
                </a:cxn>
                <a:cxn ang="0">
                  <a:pos x="26" y="156"/>
                </a:cxn>
              </a:cxnLst>
              <a:rect l="0" t="0" r="r" b="b"/>
              <a:pathLst>
                <a:path w="212" h="248">
                  <a:moveTo>
                    <a:pt x="26" y="156"/>
                  </a:moveTo>
                  <a:lnTo>
                    <a:pt x="0" y="248"/>
                  </a:lnTo>
                  <a:lnTo>
                    <a:pt x="4" y="248"/>
                  </a:lnTo>
                  <a:lnTo>
                    <a:pt x="30" y="156"/>
                  </a:lnTo>
                  <a:lnTo>
                    <a:pt x="200" y="32"/>
                  </a:lnTo>
                  <a:lnTo>
                    <a:pt x="212" y="0"/>
                  </a:lnTo>
                  <a:lnTo>
                    <a:pt x="208" y="2"/>
                  </a:lnTo>
                  <a:lnTo>
                    <a:pt x="198" y="32"/>
                  </a:lnTo>
                  <a:lnTo>
                    <a:pt x="26" y="15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59" name="Freeform 2880"/>
            <p:cNvSpPr>
              <a:spLocks/>
            </p:cNvSpPr>
            <p:nvPr/>
          </p:nvSpPr>
          <p:spPr bwMode="auto">
            <a:xfrm>
              <a:off x="6741184" y="2996924"/>
              <a:ext cx="2571" cy="25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60" name="Freeform 2881"/>
            <p:cNvSpPr>
              <a:spLocks/>
            </p:cNvSpPr>
            <p:nvPr/>
          </p:nvSpPr>
          <p:spPr bwMode="auto">
            <a:xfrm>
              <a:off x="6592067" y="2999495"/>
              <a:ext cx="151688" cy="221105"/>
            </a:xfrm>
            <a:custGeom>
              <a:avLst/>
              <a:gdLst/>
              <a:ahLst/>
              <a:cxnLst>
                <a:cxn ang="0">
                  <a:pos x="64" y="98"/>
                </a:cxn>
                <a:cxn ang="0">
                  <a:pos x="0" y="172"/>
                </a:cxn>
                <a:cxn ang="0">
                  <a:pos x="6" y="170"/>
                </a:cxn>
                <a:cxn ang="0">
                  <a:pos x="6" y="170"/>
                </a:cxn>
                <a:cxn ang="0">
                  <a:pos x="66" y="98"/>
                </a:cxn>
                <a:cxn ang="0">
                  <a:pos x="118" y="2"/>
                </a:cxn>
                <a:cxn ang="0">
                  <a:pos x="114" y="0"/>
                </a:cxn>
                <a:cxn ang="0">
                  <a:pos x="64" y="98"/>
                </a:cxn>
              </a:cxnLst>
              <a:rect l="0" t="0" r="r" b="b"/>
              <a:pathLst>
                <a:path w="118" h="172">
                  <a:moveTo>
                    <a:pt x="64" y="98"/>
                  </a:moveTo>
                  <a:lnTo>
                    <a:pt x="0" y="172"/>
                  </a:lnTo>
                  <a:lnTo>
                    <a:pt x="6" y="170"/>
                  </a:lnTo>
                  <a:lnTo>
                    <a:pt x="6" y="170"/>
                  </a:lnTo>
                  <a:lnTo>
                    <a:pt x="66" y="98"/>
                  </a:lnTo>
                  <a:lnTo>
                    <a:pt x="118" y="2"/>
                  </a:lnTo>
                  <a:lnTo>
                    <a:pt x="114" y="0"/>
                  </a:lnTo>
                  <a:lnTo>
                    <a:pt x="64" y="9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61" name="Freeform 2882"/>
            <p:cNvSpPr>
              <a:spLocks/>
            </p:cNvSpPr>
            <p:nvPr/>
          </p:nvSpPr>
          <p:spPr bwMode="auto">
            <a:xfrm>
              <a:off x="7507340" y="2552143"/>
              <a:ext cx="2571" cy="7713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2" y="6"/>
                </a:cxn>
              </a:cxnLst>
              <a:rect l="0" t="0" r="r" b="b"/>
              <a:pathLst>
                <a:path w="2" h="6">
                  <a:moveTo>
                    <a:pt x="2" y="6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62" name="Freeform 2883"/>
            <p:cNvSpPr>
              <a:spLocks/>
            </p:cNvSpPr>
            <p:nvPr/>
          </p:nvSpPr>
          <p:spPr bwMode="auto">
            <a:xfrm>
              <a:off x="7383932" y="2457016"/>
              <a:ext cx="123408" cy="10284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96" y="80"/>
                </a:cxn>
                <a:cxn ang="0">
                  <a:pos x="96" y="74"/>
                </a:cxn>
                <a:cxn ang="0">
                  <a:pos x="2" y="0"/>
                </a:cxn>
                <a:cxn ang="0">
                  <a:pos x="0" y="2"/>
                </a:cxn>
              </a:cxnLst>
              <a:rect l="0" t="0" r="r" b="b"/>
              <a:pathLst>
                <a:path w="96" h="80">
                  <a:moveTo>
                    <a:pt x="0" y="2"/>
                  </a:moveTo>
                  <a:lnTo>
                    <a:pt x="96" y="80"/>
                  </a:lnTo>
                  <a:lnTo>
                    <a:pt x="96" y="74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63" name="Freeform 2884"/>
            <p:cNvSpPr>
              <a:spLocks/>
            </p:cNvSpPr>
            <p:nvPr/>
          </p:nvSpPr>
          <p:spPr bwMode="auto">
            <a:xfrm>
              <a:off x="7548476" y="2256479"/>
              <a:ext cx="2571" cy="2571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64" name="Freeform 2885"/>
            <p:cNvSpPr>
              <a:spLocks/>
            </p:cNvSpPr>
            <p:nvPr/>
          </p:nvSpPr>
          <p:spPr bwMode="auto">
            <a:xfrm>
              <a:off x="7692451" y="2156210"/>
              <a:ext cx="7713" cy="2571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65" name="Freeform 2886"/>
            <p:cNvSpPr>
              <a:spLocks/>
            </p:cNvSpPr>
            <p:nvPr/>
          </p:nvSpPr>
          <p:spPr bwMode="auto">
            <a:xfrm>
              <a:off x="7391645" y="2156210"/>
              <a:ext cx="303377" cy="102840"/>
            </a:xfrm>
            <a:custGeom>
              <a:avLst/>
              <a:gdLst/>
              <a:ahLst/>
              <a:cxnLst>
                <a:cxn ang="0">
                  <a:pos x="222" y="0"/>
                </a:cxn>
                <a:cxn ang="0">
                  <a:pos x="136" y="40"/>
                </a:cxn>
                <a:cxn ang="0">
                  <a:pos x="124" y="70"/>
                </a:cxn>
                <a:cxn ang="0">
                  <a:pos x="0" y="42"/>
                </a:cxn>
                <a:cxn ang="0">
                  <a:pos x="0" y="44"/>
                </a:cxn>
                <a:cxn ang="0">
                  <a:pos x="124" y="72"/>
                </a:cxn>
                <a:cxn ang="0">
                  <a:pos x="122" y="80"/>
                </a:cxn>
                <a:cxn ang="0">
                  <a:pos x="124" y="78"/>
                </a:cxn>
                <a:cxn ang="0">
                  <a:pos x="138" y="40"/>
                </a:cxn>
                <a:cxn ang="0">
                  <a:pos x="222" y="2"/>
                </a:cxn>
                <a:cxn ang="0">
                  <a:pos x="234" y="2"/>
                </a:cxn>
                <a:cxn ang="0">
                  <a:pos x="236" y="0"/>
                </a:cxn>
                <a:cxn ang="0">
                  <a:pos x="222" y="0"/>
                </a:cxn>
              </a:cxnLst>
              <a:rect l="0" t="0" r="r" b="b"/>
              <a:pathLst>
                <a:path w="236" h="80">
                  <a:moveTo>
                    <a:pt x="222" y="0"/>
                  </a:moveTo>
                  <a:lnTo>
                    <a:pt x="136" y="40"/>
                  </a:lnTo>
                  <a:lnTo>
                    <a:pt x="124" y="70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124" y="72"/>
                  </a:lnTo>
                  <a:lnTo>
                    <a:pt x="122" y="80"/>
                  </a:lnTo>
                  <a:lnTo>
                    <a:pt x="124" y="78"/>
                  </a:lnTo>
                  <a:lnTo>
                    <a:pt x="138" y="40"/>
                  </a:lnTo>
                  <a:lnTo>
                    <a:pt x="222" y="2"/>
                  </a:lnTo>
                  <a:lnTo>
                    <a:pt x="234" y="2"/>
                  </a:lnTo>
                  <a:lnTo>
                    <a:pt x="236" y="0"/>
                  </a:lnTo>
                  <a:lnTo>
                    <a:pt x="22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66" name="Rectangle 2887"/>
            <p:cNvSpPr>
              <a:spLocks noChangeArrowheads="1"/>
            </p:cNvSpPr>
            <p:nvPr/>
          </p:nvSpPr>
          <p:spPr bwMode="auto">
            <a:xfrm>
              <a:off x="2121113" y="1603447"/>
              <a:ext cx="7713" cy="7713"/>
            </a:xfrm>
            <a:prstGeom prst="rect">
              <a:avLst/>
            </a:prstGeom>
            <a:grpFill/>
            <a:ln w="127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67" name="Freeform 2888"/>
            <p:cNvSpPr>
              <a:spLocks/>
            </p:cNvSpPr>
            <p:nvPr/>
          </p:nvSpPr>
          <p:spPr bwMode="auto">
            <a:xfrm>
              <a:off x="2128826" y="1338635"/>
              <a:ext cx="2043938" cy="1252073"/>
            </a:xfrm>
            <a:custGeom>
              <a:avLst/>
              <a:gdLst/>
              <a:ahLst/>
              <a:cxnLst>
                <a:cxn ang="0">
                  <a:pos x="1590" y="166"/>
                </a:cxn>
                <a:cxn ang="0">
                  <a:pos x="1580" y="616"/>
                </a:cxn>
                <a:cxn ang="0">
                  <a:pos x="978" y="650"/>
                </a:cxn>
                <a:cxn ang="0">
                  <a:pos x="908" y="626"/>
                </a:cxn>
                <a:cxn ang="0">
                  <a:pos x="754" y="534"/>
                </a:cxn>
                <a:cxn ang="0">
                  <a:pos x="714" y="476"/>
                </a:cxn>
                <a:cxn ang="0">
                  <a:pos x="710" y="326"/>
                </a:cxn>
                <a:cxn ang="0">
                  <a:pos x="668" y="24"/>
                </a:cxn>
                <a:cxn ang="0">
                  <a:pos x="636" y="166"/>
                </a:cxn>
                <a:cxn ang="0">
                  <a:pos x="736" y="346"/>
                </a:cxn>
                <a:cxn ang="0">
                  <a:pos x="756" y="472"/>
                </a:cxn>
                <a:cxn ang="0">
                  <a:pos x="818" y="642"/>
                </a:cxn>
                <a:cxn ang="0">
                  <a:pos x="948" y="618"/>
                </a:cxn>
                <a:cxn ang="0">
                  <a:pos x="948" y="964"/>
                </a:cxn>
                <a:cxn ang="0">
                  <a:pos x="502" y="598"/>
                </a:cxn>
                <a:cxn ang="0">
                  <a:pos x="560" y="436"/>
                </a:cxn>
                <a:cxn ang="0">
                  <a:pos x="592" y="2"/>
                </a:cxn>
                <a:cxn ang="0">
                  <a:pos x="524" y="342"/>
                </a:cxn>
                <a:cxn ang="0">
                  <a:pos x="400" y="334"/>
                </a:cxn>
                <a:cxn ang="0">
                  <a:pos x="110" y="318"/>
                </a:cxn>
                <a:cxn ang="0">
                  <a:pos x="0" y="206"/>
                </a:cxn>
                <a:cxn ang="0">
                  <a:pos x="96" y="238"/>
                </a:cxn>
                <a:cxn ang="0">
                  <a:pos x="284" y="356"/>
                </a:cxn>
                <a:cxn ang="0">
                  <a:pos x="534" y="378"/>
                </a:cxn>
                <a:cxn ang="0">
                  <a:pos x="486" y="572"/>
                </a:cxn>
                <a:cxn ang="0">
                  <a:pos x="444" y="862"/>
                </a:cxn>
                <a:cxn ang="0">
                  <a:pos x="446" y="866"/>
                </a:cxn>
                <a:cxn ang="0">
                  <a:pos x="442" y="870"/>
                </a:cxn>
                <a:cxn ang="0">
                  <a:pos x="682" y="914"/>
                </a:cxn>
                <a:cxn ang="0">
                  <a:pos x="688" y="920"/>
                </a:cxn>
                <a:cxn ang="0">
                  <a:pos x="948" y="970"/>
                </a:cxn>
                <a:cxn ang="0">
                  <a:pos x="992" y="584"/>
                </a:cxn>
                <a:cxn ang="0">
                  <a:pos x="1584" y="624"/>
                </a:cxn>
                <a:cxn ang="0">
                  <a:pos x="1586" y="524"/>
                </a:cxn>
                <a:cxn ang="0">
                  <a:pos x="1584" y="520"/>
                </a:cxn>
              </a:cxnLst>
              <a:rect l="0" t="0" r="r" b="b"/>
              <a:pathLst>
                <a:path w="1590" h="974">
                  <a:moveTo>
                    <a:pt x="1586" y="520"/>
                  </a:moveTo>
                  <a:lnTo>
                    <a:pt x="1590" y="166"/>
                  </a:lnTo>
                  <a:lnTo>
                    <a:pt x="1584" y="164"/>
                  </a:lnTo>
                  <a:lnTo>
                    <a:pt x="1580" y="616"/>
                  </a:lnTo>
                  <a:lnTo>
                    <a:pt x="986" y="578"/>
                  </a:lnTo>
                  <a:lnTo>
                    <a:pt x="978" y="650"/>
                  </a:lnTo>
                  <a:lnTo>
                    <a:pt x="952" y="614"/>
                  </a:lnTo>
                  <a:lnTo>
                    <a:pt x="908" y="626"/>
                  </a:lnTo>
                  <a:lnTo>
                    <a:pt x="824" y="638"/>
                  </a:lnTo>
                  <a:lnTo>
                    <a:pt x="754" y="534"/>
                  </a:lnTo>
                  <a:lnTo>
                    <a:pt x="762" y="464"/>
                  </a:lnTo>
                  <a:lnTo>
                    <a:pt x="714" y="476"/>
                  </a:lnTo>
                  <a:lnTo>
                    <a:pt x="744" y="346"/>
                  </a:lnTo>
                  <a:lnTo>
                    <a:pt x="710" y="326"/>
                  </a:lnTo>
                  <a:lnTo>
                    <a:pt x="644" y="168"/>
                  </a:lnTo>
                  <a:lnTo>
                    <a:pt x="668" y="24"/>
                  </a:lnTo>
                  <a:lnTo>
                    <a:pt x="662" y="22"/>
                  </a:lnTo>
                  <a:lnTo>
                    <a:pt x="636" y="166"/>
                  </a:lnTo>
                  <a:lnTo>
                    <a:pt x="708" y="332"/>
                  </a:lnTo>
                  <a:lnTo>
                    <a:pt x="736" y="346"/>
                  </a:lnTo>
                  <a:lnTo>
                    <a:pt x="706" y="484"/>
                  </a:lnTo>
                  <a:lnTo>
                    <a:pt x="756" y="472"/>
                  </a:lnTo>
                  <a:lnTo>
                    <a:pt x="746" y="534"/>
                  </a:lnTo>
                  <a:lnTo>
                    <a:pt x="818" y="642"/>
                  </a:lnTo>
                  <a:lnTo>
                    <a:pt x="910" y="632"/>
                  </a:lnTo>
                  <a:lnTo>
                    <a:pt x="948" y="618"/>
                  </a:lnTo>
                  <a:lnTo>
                    <a:pt x="976" y="656"/>
                  </a:lnTo>
                  <a:lnTo>
                    <a:pt x="948" y="964"/>
                  </a:lnTo>
                  <a:lnTo>
                    <a:pt x="452" y="864"/>
                  </a:lnTo>
                  <a:lnTo>
                    <a:pt x="502" y="598"/>
                  </a:lnTo>
                  <a:lnTo>
                    <a:pt x="492" y="572"/>
                  </a:lnTo>
                  <a:lnTo>
                    <a:pt x="560" y="436"/>
                  </a:lnTo>
                  <a:lnTo>
                    <a:pt x="530" y="342"/>
                  </a:lnTo>
                  <a:lnTo>
                    <a:pt x="592" y="2"/>
                  </a:lnTo>
                  <a:lnTo>
                    <a:pt x="584" y="0"/>
                  </a:lnTo>
                  <a:lnTo>
                    <a:pt x="524" y="342"/>
                  </a:lnTo>
                  <a:lnTo>
                    <a:pt x="532" y="368"/>
                  </a:lnTo>
                  <a:lnTo>
                    <a:pt x="400" y="334"/>
                  </a:lnTo>
                  <a:lnTo>
                    <a:pt x="284" y="350"/>
                  </a:lnTo>
                  <a:lnTo>
                    <a:pt x="110" y="318"/>
                  </a:lnTo>
                  <a:lnTo>
                    <a:pt x="100" y="234"/>
                  </a:lnTo>
                  <a:lnTo>
                    <a:pt x="0" y="206"/>
                  </a:lnTo>
                  <a:lnTo>
                    <a:pt x="0" y="212"/>
                  </a:lnTo>
                  <a:lnTo>
                    <a:pt x="96" y="238"/>
                  </a:lnTo>
                  <a:lnTo>
                    <a:pt x="104" y="324"/>
                  </a:lnTo>
                  <a:lnTo>
                    <a:pt x="284" y="356"/>
                  </a:lnTo>
                  <a:lnTo>
                    <a:pt x="400" y="340"/>
                  </a:lnTo>
                  <a:lnTo>
                    <a:pt x="534" y="378"/>
                  </a:lnTo>
                  <a:lnTo>
                    <a:pt x="554" y="436"/>
                  </a:lnTo>
                  <a:lnTo>
                    <a:pt x="486" y="572"/>
                  </a:lnTo>
                  <a:lnTo>
                    <a:pt x="494" y="598"/>
                  </a:lnTo>
                  <a:lnTo>
                    <a:pt x="444" y="862"/>
                  </a:lnTo>
                  <a:lnTo>
                    <a:pt x="446" y="862"/>
                  </a:lnTo>
                  <a:lnTo>
                    <a:pt x="446" y="866"/>
                  </a:lnTo>
                  <a:lnTo>
                    <a:pt x="442" y="866"/>
                  </a:lnTo>
                  <a:lnTo>
                    <a:pt x="442" y="870"/>
                  </a:lnTo>
                  <a:lnTo>
                    <a:pt x="680" y="918"/>
                  </a:lnTo>
                  <a:lnTo>
                    <a:pt x="682" y="914"/>
                  </a:lnTo>
                  <a:lnTo>
                    <a:pt x="688" y="914"/>
                  </a:lnTo>
                  <a:lnTo>
                    <a:pt x="688" y="920"/>
                  </a:lnTo>
                  <a:lnTo>
                    <a:pt x="948" y="974"/>
                  </a:lnTo>
                  <a:lnTo>
                    <a:pt x="948" y="970"/>
                  </a:lnTo>
                  <a:lnTo>
                    <a:pt x="954" y="972"/>
                  </a:lnTo>
                  <a:lnTo>
                    <a:pt x="992" y="584"/>
                  </a:lnTo>
                  <a:lnTo>
                    <a:pt x="1584" y="624"/>
                  </a:lnTo>
                  <a:lnTo>
                    <a:pt x="1584" y="624"/>
                  </a:lnTo>
                  <a:lnTo>
                    <a:pt x="1586" y="624"/>
                  </a:lnTo>
                  <a:lnTo>
                    <a:pt x="1586" y="524"/>
                  </a:lnTo>
                  <a:lnTo>
                    <a:pt x="1584" y="524"/>
                  </a:lnTo>
                  <a:lnTo>
                    <a:pt x="1584" y="520"/>
                  </a:lnTo>
                  <a:lnTo>
                    <a:pt x="1586" y="52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68" name="Rectangle 2889"/>
            <p:cNvSpPr>
              <a:spLocks noChangeArrowheads="1"/>
            </p:cNvSpPr>
            <p:nvPr/>
          </p:nvSpPr>
          <p:spPr bwMode="auto">
            <a:xfrm>
              <a:off x="1971996" y="2266763"/>
              <a:ext cx="1286" cy="1286"/>
            </a:xfrm>
            <a:prstGeom prst="rect">
              <a:avLst/>
            </a:prstGeom>
            <a:grpFill/>
            <a:ln w="127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69" name="Freeform 2890"/>
            <p:cNvSpPr>
              <a:spLocks/>
            </p:cNvSpPr>
            <p:nvPr/>
          </p:nvSpPr>
          <p:spPr bwMode="auto">
            <a:xfrm>
              <a:off x="2748435" y="4012465"/>
              <a:ext cx="2571" cy="1286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70" name="Freeform 2891"/>
            <p:cNvSpPr>
              <a:spLocks/>
            </p:cNvSpPr>
            <p:nvPr/>
          </p:nvSpPr>
          <p:spPr bwMode="auto">
            <a:xfrm>
              <a:off x="2910408" y="2518720"/>
              <a:ext cx="102840" cy="758442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0" y="590"/>
                </a:cxn>
                <a:cxn ang="0">
                  <a:pos x="4" y="590"/>
                </a:cxn>
                <a:cxn ang="0">
                  <a:pos x="80" y="2"/>
                </a:cxn>
                <a:cxn ang="0">
                  <a:pos x="72" y="0"/>
                </a:cxn>
              </a:cxnLst>
              <a:rect l="0" t="0" r="r" b="b"/>
              <a:pathLst>
                <a:path w="80" h="590">
                  <a:moveTo>
                    <a:pt x="72" y="0"/>
                  </a:moveTo>
                  <a:lnTo>
                    <a:pt x="0" y="590"/>
                  </a:lnTo>
                  <a:lnTo>
                    <a:pt x="4" y="590"/>
                  </a:lnTo>
                  <a:lnTo>
                    <a:pt x="80" y="2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71" name="Freeform 2892"/>
            <p:cNvSpPr>
              <a:spLocks/>
            </p:cNvSpPr>
            <p:nvPr/>
          </p:nvSpPr>
          <p:spPr bwMode="auto">
            <a:xfrm>
              <a:off x="1971996" y="2266763"/>
              <a:ext cx="943554" cy="1745703"/>
            </a:xfrm>
            <a:custGeom>
              <a:avLst/>
              <a:gdLst/>
              <a:ahLst/>
              <a:cxnLst>
                <a:cxn ang="0">
                  <a:pos x="618" y="1262"/>
                </a:cxn>
                <a:cxn ang="0">
                  <a:pos x="668" y="1154"/>
                </a:cxn>
                <a:cxn ang="0">
                  <a:pos x="680" y="1140"/>
                </a:cxn>
                <a:cxn ang="0">
                  <a:pos x="648" y="1044"/>
                </a:cxn>
                <a:cxn ang="0">
                  <a:pos x="678" y="896"/>
                </a:cxn>
                <a:cxn ang="0">
                  <a:pos x="718" y="910"/>
                </a:cxn>
                <a:cxn ang="0">
                  <a:pos x="734" y="790"/>
                </a:cxn>
                <a:cxn ang="0">
                  <a:pos x="730" y="788"/>
                </a:cxn>
                <a:cxn ang="0">
                  <a:pos x="730" y="786"/>
                </a:cxn>
                <a:cxn ang="0">
                  <a:pos x="716" y="904"/>
                </a:cxn>
                <a:cxn ang="0">
                  <a:pos x="676" y="892"/>
                </a:cxn>
                <a:cxn ang="0">
                  <a:pos x="646" y="1040"/>
                </a:cxn>
                <a:cxn ang="0">
                  <a:pos x="262" y="482"/>
                </a:cxn>
                <a:cxn ang="0">
                  <a:pos x="272" y="454"/>
                </a:cxn>
                <a:cxn ang="0">
                  <a:pos x="262" y="426"/>
                </a:cxn>
                <a:cxn ang="0">
                  <a:pos x="338" y="98"/>
                </a:cxn>
                <a:cxn ang="0">
                  <a:pos x="564" y="144"/>
                </a:cxn>
                <a:cxn ang="0">
                  <a:pos x="566" y="140"/>
                </a:cxn>
                <a:cxn ang="0">
                  <a:pos x="338" y="9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8"/>
                </a:cxn>
                <a:cxn ang="0">
                  <a:pos x="334" y="98"/>
                </a:cxn>
                <a:cxn ang="0">
                  <a:pos x="256" y="426"/>
                </a:cxn>
                <a:cxn ang="0">
                  <a:pos x="266" y="454"/>
                </a:cxn>
                <a:cxn ang="0">
                  <a:pos x="256" y="482"/>
                </a:cxn>
                <a:cxn ang="0">
                  <a:pos x="644" y="1044"/>
                </a:cxn>
                <a:cxn ang="0">
                  <a:pos x="674" y="1140"/>
                </a:cxn>
                <a:cxn ang="0">
                  <a:pos x="664" y="1150"/>
                </a:cxn>
                <a:cxn ang="0">
                  <a:pos x="614" y="1260"/>
                </a:cxn>
                <a:cxn ang="0">
                  <a:pos x="626" y="1314"/>
                </a:cxn>
                <a:cxn ang="0">
                  <a:pos x="600" y="1354"/>
                </a:cxn>
                <a:cxn ang="0">
                  <a:pos x="604" y="1358"/>
                </a:cxn>
                <a:cxn ang="0">
                  <a:pos x="606" y="1358"/>
                </a:cxn>
                <a:cxn ang="0">
                  <a:pos x="630" y="1316"/>
                </a:cxn>
                <a:cxn ang="0">
                  <a:pos x="618" y="1262"/>
                </a:cxn>
              </a:cxnLst>
              <a:rect l="0" t="0" r="r" b="b"/>
              <a:pathLst>
                <a:path w="734" h="1358">
                  <a:moveTo>
                    <a:pt x="618" y="1262"/>
                  </a:moveTo>
                  <a:lnTo>
                    <a:pt x="668" y="1154"/>
                  </a:lnTo>
                  <a:lnTo>
                    <a:pt x="680" y="1140"/>
                  </a:lnTo>
                  <a:lnTo>
                    <a:pt x="648" y="1044"/>
                  </a:lnTo>
                  <a:lnTo>
                    <a:pt x="678" y="896"/>
                  </a:lnTo>
                  <a:lnTo>
                    <a:pt x="718" y="910"/>
                  </a:lnTo>
                  <a:lnTo>
                    <a:pt x="734" y="790"/>
                  </a:lnTo>
                  <a:lnTo>
                    <a:pt x="730" y="788"/>
                  </a:lnTo>
                  <a:lnTo>
                    <a:pt x="730" y="786"/>
                  </a:lnTo>
                  <a:lnTo>
                    <a:pt x="716" y="904"/>
                  </a:lnTo>
                  <a:lnTo>
                    <a:pt x="676" y="892"/>
                  </a:lnTo>
                  <a:lnTo>
                    <a:pt x="646" y="1040"/>
                  </a:lnTo>
                  <a:lnTo>
                    <a:pt x="262" y="482"/>
                  </a:lnTo>
                  <a:lnTo>
                    <a:pt x="272" y="454"/>
                  </a:lnTo>
                  <a:lnTo>
                    <a:pt x="262" y="426"/>
                  </a:lnTo>
                  <a:lnTo>
                    <a:pt x="338" y="98"/>
                  </a:lnTo>
                  <a:lnTo>
                    <a:pt x="564" y="144"/>
                  </a:lnTo>
                  <a:lnTo>
                    <a:pt x="566" y="140"/>
                  </a:lnTo>
                  <a:lnTo>
                    <a:pt x="338" y="9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8"/>
                  </a:lnTo>
                  <a:lnTo>
                    <a:pt x="334" y="98"/>
                  </a:lnTo>
                  <a:lnTo>
                    <a:pt x="256" y="426"/>
                  </a:lnTo>
                  <a:lnTo>
                    <a:pt x="266" y="454"/>
                  </a:lnTo>
                  <a:lnTo>
                    <a:pt x="256" y="482"/>
                  </a:lnTo>
                  <a:lnTo>
                    <a:pt x="644" y="1044"/>
                  </a:lnTo>
                  <a:lnTo>
                    <a:pt x="674" y="1140"/>
                  </a:lnTo>
                  <a:lnTo>
                    <a:pt x="664" y="1150"/>
                  </a:lnTo>
                  <a:lnTo>
                    <a:pt x="614" y="1260"/>
                  </a:lnTo>
                  <a:lnTo>
                    <a:pt x="626" y="1314"/>
                  </a:lnTo>
                  <a:lnTo>
                    <a:pt x="600" y="1354"/>
                  </a:lnTo>
                  <a:lnTo>
                    <a:pt x="604" y="1358"/>
                  </a:lnTo>
                  <a:lnTo>
                    <a:pt x="606" y="1358"/>
                  </a:lnTo>
                  <a:lnTo>
                    <a:pt x="630" y="1316"/>
                  </a:lnTo>
                  <a:lnTo>
                    <a:pt x="618" y="126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72" name="Freeform 2893"/>
            <p:cNvSpPr>
              <a:spLocks/>
            </p:cNvSpPr>
            <p:nvPr/>
          </p:nvSpPr>
          <p:spPr bwMode="auto">
            <a:xfrm>
              <a:off x="2697015" y="2446732"/>
              <a:ext cx="5142" cy="5142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</a:cxnLst>
              <a:rect l="0" t="0" r="r" b="b"/>
              <a:pathLst>
                <a:path w="4" h="4">
                  <a:moveTo>
                    <a:pt x="4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73" name="Freeform 2894"/>
            <p:cNvSpPr>
              <a:spLocks/>
            </p:cNvSpPr>
            <p:nvPr/>
          </p:nvSpPr>
          <p:spPr bwMode="auto">
            <a:xfrm>
              <a:off x="3002963" y="2513578"/>
              <a:ext cx="10284" cy="77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8" y="6"/>
                </a:cxn>
                <a:cxn ang="0">
                  <a:pos x="8" y="0"/>
                </a:cxn>
              </a:cxnLst>
              <a:rect l="0" t="0" r="r" b="b"/>
              <a:pathLst>
                <a:path w="8" h="6">
                  <a:moveTo>
                    <a:pt x="8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8" y="6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74" name="Freeform 2895"/>
            <p:cNvSpPr>
              <a:spLocks/>
            </p:cNvSpPr>
            <p:nvPr/>
          </p:nvSpPr>
          <p:spPr bwMode="auto">
            <a:xfrm>
              <a:off x="5455689" y="4480386"/>
              <a:ext cx="5142" cy="1286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4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75" name="Freeform 2896"/>
            <p:cNvSpPr>
              <a:spLocks/>
            </p:cNvSpPr>
            <p:nvPr/>
          </p:nvSpPr>
          <p:spPr bwMode="auto">
            <a:xfrm>
              <a:off x="3781974" y="4256710"/>
              <a:ext cx="2571" cy="5142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2" y="4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76" name="Freeform 2897"/>
            <p:cNvSpPr>
              <a:spLocks/>
            </p:cNvSpPr>
            <p:nvPr/>
          </p:nvSpPr>
          <p:spPr bwMode="auto">
            <a:xfrm>
              <a:off x="3442603" y="4290133"/>
              <a:ext cx="10284" cy="25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8" h="2">
                  <a:moveTo>
                    <a:pt x="0" y="0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77" name="Freeform 2898"/>
            <p:cNvSpPr>
              <a:spLocks/>
            </p:cNvSpPr>
            <p:nvPr/>
          </p:nvSpPr>
          <p:spPr bwMode="auto">
            <a:xfrm>
              <a:off x="5370846" y="3971330"/>
              <a:ext cx="118266" cy="509056"/>
            </a:xfrm>
            <a:custGeom>
              <a:avLst/>
              <a:gdLst/>
              <a:ahLst/>
              <a:cxnLst>
                <a:cxn ang="0">
                  <a:pos x="92" y="254"/>
                </a:cxn>
                <a:cxn ang="0">
                  <a:pos x="24" y="134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18" y="136"/>
                </a:cxn>
                <a:cxn ang="0">
                  <a:pos x="88" y="254"/>
                </a:cxn>
                <a:cxn ang="0">
                  <a:pos x="78" y="350"/>
                </a:cxn>
                <a:cxn ang="0">
                  <a:pos x="64" y="394"/>
                </a:cxn>
                <a:cxn ang="0">
                  <a:pos x="66" y="396"/>
                </a:cxn>
                <a:cxn ang="0">
                  <a:pos x="70" y="396"/>
                </a:cxn>
                <a:cxn ang="0">
                  <a:pos x="84" y="352"/>
                </a:cxn>
                <a:cxn ang="0">
                  <a:pos x="92" y="254"/>
                </a:cxn>
              </a:cxnLst>
              <a:rect l="0" t="0" r="r" b="b"/>
              <a:pathLst>
                <a:path w="92" h="396">
                  <a:moveTo>
                    <a:pt x="92" y="254"/>
                  </a:moveTo>
                  <a:lnTo>
                    <a:pt x="24" y="134"/>
                  </a:lnTo>
                  <a:lnTo>
                    <a:pt x="8" y="0"/>
                  </a:lnTo>
                  <a:lnTo>
                    <a:pt x="0" y="0"/>
                  </a:lnTo>
                  <a:lnTo>
                    <a:pt x="18" y="136"/>
                  </a:lnTo>
                  <a:lnTo>
                    <a:pt x="88" y="254"/>
                  </a:lnTo>
                  <a:lnTo>
                    <a:pt x="78" y="350"/>
                  </a:lnTo>
                  <a:lnTo>
                    <a:pt x="64" y="394"/>
                  </a:lnTo>
                  <a:lnTo>
                    <a:pt x="66" y="396"/>
                  </a:lnTo>
                  <a:lnTo>
                    <a:pt x="70" y="396"/>
                  </a:lnTo>
                  <a:lnTo>
                    <a:pt x="84" y="352"/>
                  </a:lnTo>
                  <a:lnTo>
                    <a:pt x="92" y="2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78" name="Rectangle 2899"/>
            <p:cNvSpPr>
              <a:spLocks noChangeArrowheads="1"/>
            </p:cNvSpPr>
            <p:nvPr/>
          </p:nvSpPr>
          <p:spPr bwMode="auto">
            <a:xfrm>
              <a:off x="2910408" y="3277162"/>
              <a:ext cx="1286" cy="1286"/>
            </a:xfrm>
            <a:prstGeom prst="rect">
              <a:avLst/>
            </a:prstGeom>
            <a:grpFill/>
            <a:ln w="127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79" name="Freeform 2900"/>
            <p:cNvSpPr>
              <a:spLocks/>
            </p:cNvSpPr>
            <p:nvPr/>
          </p:nvSpPr>
          <p:spPr bwMode="auto">
            <a:xfrm>
              <a:off x="2915550" y="2140784"/>
              <a:ext cx="2465581" cy="2149349"/>
            </a:xfrm>
            <a:custGeom>
              <a:avLst/>
              <a:gdLst/>
              <a:ahLst/>
              <a:cxnLst>
                <a:cxn ang="0">
                  <a:pos x="1038" y="1058"/>
                </a:cxn>
                <a:cxn ang="0">
                  <a:pos x="1320" y="1284"/>
                </a:cxn>
                <a:cxn ang="0">
                  <a:pos x="1796" y="1340"/>
                </a:cxn>
                <a:cxn ang="0">
                  <a:pos x="1910" y="1424"/>
                </a:cxn>
                <a:cxn ang="0">
                  <a:pos x="1918" y="1420"/>
                </a:cxn>
                <a:cxn ang="0">
                  <a:pos x="1874" y="1366"/>
                </a:cxn>
                <a:cxn ang="0">
                  <a:pos x="1864" y="1366"/>
                </a:cxn>
                <a:cxn ang="0">
                  <a:pos x="1798" y="1334"/>
                </a:cxn>
                <a:cxn ang="0">
                  <a:pos x="1326" y="1280"/>
                </a:cxn>
                <a:cxn ang="0">
                  <a:pos x="1058" y="1050"/>
                </a:cxn>
                <a:cxn ang="0">
                  <a:pos x="1830" y="954"/>
                </a:cxn>
                <a:cxn ang="0">
                  <a:pos x="1138" y="972"/>
                </a:cxn>
                <a:cxn ang="0">
                  <a:pos x="1134" y="974"/>
                </a:cxn>
                <a:cxn ang="0">
                  <a:pos x="1052" y="974"/>
                </a:cxn>
                <a:cxn ang="0">
                  <a:pos x="508" y="498"/>
                </a:cxn>
                <a:cxn ang="0">
                  <a:pos x="1128" y="616"/>
                </a:cxn>
                <a:cxn ang="0">
                  <a:pos x="1128" y="618"/>
                </a:cxn>
                <a:cxn ang="0">
                  <a:pos x="1734" y="610"/>
                </a:cxn>
                <a:cxn ang="0">
                  <a:pos x="1726" y="604"/>
                </a:cxn>
                <a:cxn ang="0">
                  <a:pos x="1710" y="542"/>
                </a:cxn>
                <a:cxn ang="0">
                  <a:pos x="1726" y="604"/>
                </a:cxn>
                <a:cxn ang="0">
                  <a:pos x="1126" y="518"/>
                </a:cxn>
                <a:cxn ang="0">
                  <a:pos x="972" y="252"/>
                </a:cxn>
                <a:cxn ang="0">
                  <a:pos x="972" y="248"/>
                </a:cxn>
                <a:cxn ang="0">
                  <a:pos x="976" y="0"/>
                </a:cxn>
                <a:cxn ang="0">
                  <a:pos x="974" y="0"/>
                </a:cxn>
                <a:cxn ang="0">
                  <a:pos x="966" y="510"/>
                </a:cxn>
                <a:cxn ang="0">
                  <a:pos x="316" y="468"/>
                </a:cxn>
                <a:cxn ang="0">
                  <a:pos x="342" y="348"/>
                </a:cxn>
                <a:cxn ang="0">
                  <a:pos x="336" y="350"/>
                </a:cxn>
                <a:cxn ang="0">
                  <a:pos x="500" y="498"/>
                </a:cxn>
                <a:cxn ang="0">
                  <a:pos x="0" y="884"/>
                </a:cxn>
                <a:cxn ang="0">
                  <a:pos x="452" y="968"/>
                </a:cxn>
                <a:cxn ang="0">
                  <a:pos x="418" y="1672"/>
                </a:cxn>
                <a:cxn ang="0">
                  <a:pos x="1050" y="982"/>
                </a:cxn>
                <a:cxn ang="0">
                  <a:pos x="1030" y="1050"/>
                </a:cxn>
                <a:cxn ang="0">
                  <a:pos x="672" y="1602"/>
                </a:cxn>
                <a:cxn ang="0">
                  <a:pos x="674" y="1646"/>
                </a:cxn>
                <a:cxn ang="0">
                  <a:pos x="676" y="1610"/>
                </a:cxn>
              </a:cxnLst>
              <a:rect l="0" t="0" r="r" b="b"/>
              <a:pathLst>
                <a:path w="1918" h="1672">
                  <a:moveTo>
                    <a:pt x="1046" y="1620"/>
                  </a:moveTo>
                  <a:lnTo>
                    <a:pt x="1038" y="1058"/>
                  </a:lnTo>
                  <a:lnTo>
                    <a:pt x="1308" y="1048"/>
                  </a:lnTo>
                  <a:lnTo>
                    <a:pt x="1320" y="1284"/>
                  </a:lnTo>
                  <a:lnTo>
                    <a:pt x="1528" y="1352"/>
                  </a:lnTo>
                  <a:lnTo>
                    <a:pt x="1796" y="1340"/>
                  </a:lnTo>
                  <a:lnTo>
                    <a:pt x="1906" y="1386"/>
                  </a:lnTo>
                  <a:lnTo>
                    <a:pt x="1910" y="1424"/>
                  </a:lnTo>
                  <a:lnTo>
                    <a:pt x="1910" y="1420"/>
                  </a:lnTo>
                  <a:lnTo>
                    <a:pt x="1918" y="1420"/>
                  </a:lnTo>
                  <a:lnTo>
                    <a:pt x="1914" y="1382"/>
                  </a:lnTo>
                  <a:lnTo>
                    <a:pt x="1874" y="1366"/>
                  </a:lnTo>
                  <a:lnTo>
                    <a:pt x="1874" y="1370"/>
                  </a:lnTo>
                  <a:lnTo>
                    <a:pt x="1864" y="1366"/>
                  </a:lnTo>
                  <a:lnTo>
                    <a:pt x="1864" y="1362"/>
                  </a:lnTo>
                  <a:lnTo>
                    <a:pt x="1798" y="1334"/>
                  </a:lnTo>
                  <a:lnTo>
                    <a:pt x="1528" y="1348"/>
                  </a:lnTo>
                  <a:lnTo>
                    <a:pt x="1326" y="1280"/>
                  </a:lnTo>
                  <a:lnTo>
                    <a:pt x="1312" y="1042"/>
                  </a:lnTo>
                  <a:lnTo>
                    <a:pt x="1058" y="1050"/>
                  </a:lnTo>
                  <a:lnTo>
                    <a:pt x="1056" y="982"/>
                  </a:lnTo>
                  <a:lnTo>
                    <a:pt x="1830" y="954"/>
                  </a:lnTo>
                  <a:lnTo>
                    <a:pt x="1828" y="948"/>
                  </a:lnTo>
                  <a:lnTo>
                    <a:pt x="1138" y="972"/>
                  </a:lnTo>
                  <a:lnTo>
                    <a:pt x="1138" y="974"/>
                  </a:lnTo>
                  <a:lnTo>
                    <a:pt x="1134" y="974"/>
                  </a:lnTo>
                  <a:lnTo>
                    <a:pt x="1134" y="972"/>
                  </a:lnTo>
                  <a:lnTo>
                    <a:pt x="1052" y="974"/>
                  </a:lnTo>
                  <a:lnTo>
                    <a:pt x="458" y="964"/>
                  </a:lnTo>
                  <a:lnTo>
                    <a:pt x="508" y="498"/>
                  </a:lnTo>
                  <a:lnTo>
                    <a:pt x="1120" y="524"/>
                  </a:lnTo>
                  <a:lnTo>
                    <a:pt x="1128" y="616"/>
                  </a:lnTo>
                  <a:lnTo>
                    <a:pt x="1128" y="616"/>
                  </a:lnTo>
                  <a:lnTo>
                    <a:pt x="1128" y="618"/>
                  </a:lnTo>
                  <a:lnTo>
                    <a:pt x="1736" y="610"/>
                  </a:lnTo>
                  <a:lnTo>
                    <a:pt x="1734" y="610"/>
                  </a:lnTo>
                  <a:lnTo>
                    <a:pt x="1726" y="610"/>
                  </a:lnTo>
                  <a:lnTo>
                    <a:pt x="1726" y="604"/>
                  </a:lnTo>
                  <a:lnTo>
                    <a:pt x="1732" y="604"/>
                  </a:lnTo>
                  <a:lnTo>
                    <a:pt x="1710" y="542"/>
                  </a:lnTo>
                  <a:lnTo>
                    <a:pt x="1704" y="542"/>
                  </a:lnTo>
                  <a:lnTo>
                    <a:pt x="1726" y="604"/>
                  </a:lnTo>
                  <a:lnTo>
                    <a:pt x="1132" y="612"/>
                  </a:lnTo>
                  <a:lnTo>
                    <a:pt x="1126" y="518"/>
                  </a:lnTo>
                  <a:lnTo>
                    <a:pt x="968" y="514"/>
                  </a:lnTo>
                  <a:lnTo>
                    <a:pt x="972" y="252"/>
                  </a:lnTo>
                  <a:lnTo>
                    <a:pt x="972" y="252"/>
                  </a:lnTo>
                  <a:lnTo>
                    <a:pt x="972" y="248"/>
                  </a:lnTo>
                  <a:lnTo>
                    <a:pt x="972" y="248"/>
                  </a:lnTo>
                  <a:lnTo>
                    <a:pt x="976" y="0"/>
                  </a:lnTo>
                  <a:lnTo>
                    <a:pt x="974" y="0"/>
                  </a:lnTo>
                  <a:lnTo>
                    <a:pt x="974" y="0"/>
                  </a:lnTo>
                  <a:lnTo>
                    <a:pt x="972" y="0"/>
                  </a:lnTo>
                  <a:lnTo>
                    <a:pt x="966" y="510"/>
                  </a:lnTo>
                  <a:lnTo>
                    <a:pt x="508" y="496"/>
                  </a:lnTo>
                  <a:lnTo>
                    <a:pt x="316" y="468"/>
                  </a:lnTo>
                  <a:lnTo>
                    <a:pt x="344" y="348"/>
                  </a:lnTo>
                  <a:lnTo>
                    <a:pt x="342" y="348"/>
                  </a:lnTo>
                  <a:lnTo>
                    <a:pt x="342" y="352"/>
                  </a:lnTo>
                  <a:lnTo>
                    <a:pt x="336" y="350"/>
                  </a:lnTo>
                  <a:lnTo>
                    <a:pt x="312" y="472"/>
                  </a:lnTo>
                  <a:lnTo>
                    <a:pt x="500" y="498"/>
                  </a:lnTo>
                  <a:lnTo>
                    <a:pt x="452" y="964"/>
                  </a:lnTo>
                  <a:lnTo>
                    <a:pt x="0" y="884"/>
                  </a:lnTo>
                  <a:lnTo>
                    <a:pt x="0" y="888"/>
                  </a:lnTo>
                  <a:lnTo>
                    <a:pt x="452" y="968"/>
                  </a:lnTo>
                  <a:lnTo>
                    <a:pt x="410" y="1672"/>
                  </a:lnTo>
                  <a:lnTo>
                    <a:pt x="418" y="1672"/>
                  </a:lnTo>
                  <a:lnTo>
                    <a:pt x="458" y="968"/>
                  </a:lnTo>
                  <a:lnTo>
                    <a:pt x="1050" y="982"/>
                  </a:lnTo>
                  <a:lnTo>
                    <a:pt x="1050" y="1050"/>
                  </a:lnTo>
                  <a:lnTo>
                    <a:pt x="1030" y="1050"/>
                  </a:lnTo>
                  <a:lnTo>
                    <a:pt x="1038" y="1610"/>
                  </a:lnTo>
                  <a:lnTo>
                    <a:pt x="672" y="1602"/>
                  </a:lnTo>
                  <a:lnTo>
                    <a:pt x="670" y="1642"/>
                  </a:lnTo>
                  <a:lnTo>
                    <a:pt x="674" y="1646"/>
                  </a:lnTo>
                  <a:lnTo>
                    <a:pt x="676" y="1648"/>
                  </a:lnTo>
                  <a:lnTo>
                    <a:pt x="676" y="1610"/>
                  </a:lnTo>
                  <a:lnTo>
                    <a:pt x="1046" y="162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80" name="Freeform 2901"/>
            <p:cNvSpPr>
              <a:spLocks/>
            </p:cNvSpPr>
            <p:nvPr/>
          </p:nvSpPr>
          <p:spPr bwMode="auto">
            <a:xfrm>
              <a:off x="4977485" y="2328466"/>
              <a:ext cx="136263" cy="506485"/>
            </a:xfrm>
            <a:custGeom>
              <a:avLst/>
              <a:gdLst/>
              <a:ahLst/>
              <a:cxnLst>
                <a:cxn ang="0">
                  <a:pos x="12" y="136"/>
                </a:cxn>
                <a:cxn ang="0">
                  <a:pos x="8" y="0"/>
                </a:cxn>
                <a:cxn ang="0">
                  <a:pos x="0" y="2"/>
                </a:cxn>
                <a:cxn ang="0">
                  <a:pos x="4" y="140"/>
                </a:cxn>
                <a:cxn ang="0">
                  <a:pos x="98" y="394"/>
                </a:cxn>
                <a:cxn ang="0">
                  <a:pos x="106" y="394"/>
                </a:cxn>
                <a:cxn ang="0">
                  <a:pos x="12" y="136"/>
                </a:cxn>
              </a:cxnLst>
              <a:rect l="0" t="0" r="r" b="b"/>
              <a:pathLst>
                <a:path w="106" h="394">
                  <a:moveTo>
                    <a:pt x="12" y="136"/>
                  </a:moveTo>
                  <a:lnTo>
                    <a:pt x="8" y="0"/>
                  </a:lnTo>
                  <a:lnTo>
                    <a:pt x="0" y="2"/>
                  </a:lnTo>
                  <a:lnTo>
                    <a:pt x="4" y="140"/>
                  </a:lnTo>
                  <a:lnTo>
                    <a:pt x="98" y="394"/>
                  </a:lnTo>
                  <a:lnTo>
                    <a:pt x="106" y="394"/>
                  </a:lnTo>
                  <a:lnTo>
                    <a:pt x="12" y="13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81" name="Freeform 2902"/>
            <p:cNvSpPr>
              <a:spLocks/>
            </p:cNvSpPr>
            <p:nvPr/>
          </p:nvSpPr>
          <p:spPr bwMode="auto">
            <a:xfrm>
              <a:off x="4861790" y="1513462"/>
              <a:ext cx="125979" cy="815004"/>
            </a:xfrm>
            <a:custGeom>
              <a:avLst/>
              <a:gdLst/>
              <a:ahLst/>
              <a:cxnLst>
                <a:cxn ang="0">
                  <a:pos x="98" y="626"/>
                </a:cxn>
                <a:cxn ang="0">
                  <a:pos x="92" y="448"/>
                </a:cxn>
                <a:cxn ang="0">
                  <a:pos x="62" y="410"/>
                </a:cxn>
                <a:cxn ang="0">
                  <a:pos x="80" y="378"/>
                </a:cxn>
                <a:cxn ang="0">
                  <a:pos x="6" y="2"/>
                </a:cxn>
                <a:cxn ang="0">
                  <a:pos x="0" y="0"/>
                </a:cxn>
                <a:cxn ang="0">
                  <a:pos x="74" y="378"/>
                </a:cxn>
                <a:cxn ang="0">
                  <a:pos x="54" y="410"/>
                </a:cxn>
                <a:cxn ang="0">
                  <a:pos x="84" y="448"/>
                </a:cxn>
                <a:cxn ang="0">
                  <a:pos x="90" y="634"/>
                </a:cxn>
                <a:cxn ang="0">
                  <a:pos x="90" y="626"/>
                </a:cxn>
                <a:cxn ang="0">
                  <a:pos x="98" y="626"/>
                </a:cxn>
              </a:cxnLst>
              <a:rect l="0" t="0" r="r" b="b"/>
              <a:pathLst>
                <a:path w="98" h="634">
                  <a:moveTo>
                    <a:pt x="98" y="626"/>
                  </a:moveTo>
                  <a:lnTo>
                    <a:pt x="92" y="448"/>
                  </a:lnTo>
                  <a:lnTo>
                    <a:pt x="62" y="410"/>
                  </a:lnTo>
                  <a:lnTo>
                    <a:pt x="80" y="378"/>
                  </a:lnTo>
                  <a:lnTo>
                    <a:pt x="6" y="2"/>
                  </a:lnTo>
                  <a:lnTo>
                    <a:pt x="0" y="0"/>
                  </a:lnTo>
                  <a:lnTo>
                    <a:pt x="74" y="378"/>
                  </a:lnTo>
                  <a:lnTo>
                    <a:pt x="54" y="410"/>
                  </a:lnTo>
                  <a:lnTo>
                    <a:pt x="84" y="448"/>
                  </a:lnTo>
                  <a:lnTo>
                    <a:pt x="90" y="634"/>
                  </a:lnTo>
                  <a:lnTo>
                    <a:pt x="90" y="626"/>
                  </a:lnTo>
                  <a:lnTo>
                    <a:pt x="98" y="62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82" name="Rectangle 2903"/>
            <p:cNvSpPr>
              <a:spLocks noChangeArrowheads="1"/>
            </p:cNvSpPr>
            <p:nvPr/>
          </p:nvSpPr>
          <p:spPr bwMode="auto">
            <a:xfrm>
              <a:off x="4365589" y="2932649"/>
              <a:ext cx="1286" cy="2571"/>
            </a:xfrm>
            <a:prstGeom prst="rect">
              <a:avLst/>
            </a:prstGeom>
            <a:grpFill/>
            <a:ln w="127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83" name="Rectangle 2904"/>
            <p:cNvSpPr>
              <a:spLocks noChangeArrowheads="1"/>
            </p:cNvSpPr>
            <p:nvPr/>
          </p:nvSpPr>
          <p:spPr bwMode="auto">
            <a:xfrm>
              <a:off x="4373302" y="3390286"/>
              <a:ext cx="5142" cy="2571"/>
            </a:xfrm>
            <a:prstGeom prst="rect">
              <a:avLst/>
            </a:prstGeom>
            <a:grpFill/>
            <a:ln w="127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84" name="Freeform 2905"/>
            <p:cNvSpPr>
              <a:spLocks/>
            </p:cNvSpPr>
            <p:nvPr/>
          </p:nvSpPr>
          <p:spPr bwMode="auto">
            <a:xfrm>
              <a:off x="5103463" y="2834952"/>
              <a:ext cx="10284" cy="25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0" y="0"/>
                </a:cxn>
              </a:cxnLst>
              <a:rect l="0" t="0" r="r" b="b"/>
              <a:pathLst>
                <a:path w="8" h="2">
                  <a:moveTo>
                    <a:pt x="0" y="0"/>
                  </a:moveTo>
                  <a:lnTo>
                    <a:pt x="2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85" name="Freeform 2906"/>
            <p:cNvSpPr>
              <a:spLocks/>
            </p:cNvSpPr>
            <p:nvPr/>
          </p:nvSpPr>
          <p:spPr bwMode="auto">
            <a:xfrm>
              <a:off x="3347476" y="2585565"/>
              <a:ext cx="7713" cy="7713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6" y="6"/>
                </a:cxn>
                <a:cxn ang="0">
                  <a:pos x="6" y="2"/>
                </a:cxn>
                <a:cxn ang="0">
                  <a:pos x="0" y="0"/>
                </a:cxn>
                <a:cxn ang="0">
                  <a:pos x="0" y="4"/>
                </a:cxn>
              </a:cxnLst>
              <a:rect l="0" t="0" r="r" b="b"/>
              <a:pathLst>
                <a:path w="6" h="6">
                  <a:moveTo>
                    <a:pt x="0" y="4"/>
                  </a:moveTo>
                  <a:lnTo>
                    <a:pt x="6" y="6"/>
                  </a:lnTo>
                  <a:lnTo>
                    <a:pt x="6" y="2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86" name="Rectangle 2907"/>
            <p:cNvSpPr>
              <a:spLocks noChangeArrowheads="1"/>
            </p:cNvSpPr>
            <p:nvPr/>
          </p:nvSpPr>
          <p:spPr bwMode="auto">
            <a:xfrm>
              <a:off x="4165051" y="2140784"/>
              <a:ext cx="2571" cy="1286"/>
            </a:xfrm>
            <a:prstGeom prst="rect">
              <a:avLst/>
            </a:prstGeom>
            <a:grpFill/>
            <a:ln w="127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87" name="Freeform 2908"/>
            <p:cNvSpPr>
              <a:spLocks/>
            </p:cNvSpPr>
            <p:nvPr/>
          </p:nvSpPr>
          <p:spPr bwMode="auto">
            <a:xfrm>
              <a:off x="2910408" y="3277162"/>
              <a:ext cx="5142" cy="51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0" y="2"/>
                  </a:lnTo>
                  <a:lnTo>
                    <a:pt x="4" y="4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88" name="Freeform 2909"/>
            <p:cNvSpPr>
              <a:spLocks/>
            </p:cNvSpPr>
            <p:nvPr/>
          </p:nvSpPr>
          <p:spPr bwMode="auto">
            <a:xfrm>
              <a:off x="4165051" y="2457016"/>
              <a:ext cx="827859" cy="79701"/>
            </a:xfrm>
            <a:custGeom>
              <a:avLst/>
              <a:gdLst/>
              <a:ahLst/>
              <a:cxnLst>
                <a:cxn ang="0">
                  <a:pos x="644" y="62"/>
                </a:cxn>
                <a:cxn ang="0">
                  <a:pos x="642" y="54"/>
                </a:cxn>
                <a:cxn ang="0">
                  <a:pos x="474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474" y="4"/>
                </a:cxn>
                <a:cxn ang="0">
                  <a:pos x="644" y="62"/>
                </a:cxn>
              </a:cxnLst>
              <a:rect l="0" t="0" r="r" b="b"/>
              <a:pathLst>
                <a:path w="644" h="62">
                  <a:moveTo>
                    <a:pt x="644" y="62"/>
                  </a:moveTo>
                  <a:lnTo>
                    <a:pt x="642" y="54"/>
                  </a:lnTo>
                  <a:lnTo>
                    <a:pt x="47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74" y="4"/>
                  </a:lnTo>
                  <a:lnTo>
                    <a:pt x="644" y="6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89" name="Rectangle 2910"/>
            <p:cNvSpPr>
              <a:spLocks noChangeArrowheads="1"/>
            </p:cNvSpPr>
            <p:nvPr/>
          </p:nvSpPr>
          <p:spPr bwMode="auto">
            <a:xfrm>
              <a:off x="4165051" y="2459587"/>
              <a:ext cx="1286" cy="5142"/>
            </a:xfrm>
            <a:prstGeom prst="rect">
              <a:avLst/>
            </a:prstGeom>
            <a:grpFill/>
            <a:ln w="127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90" name="Freeform 2911"/>
            <p:cNvSpPr>
              <a:spLocks/>
            </p:cNvSpPr>
            <p:nvPr/>
          </p:nvSpPr>
          <p:spPr bwMode="auto">
            <a:xfrm>
              <a:off x="5995597" y="2511007"/>
              <a:ext cx="5142" cy="7713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4" y="4"/>
                </a:cxn>
              </a:cxnLst>
              <a:rect l="0" t="0" r="r" b="b"/>
              <a:pathLst>
                <a:path w="4" h="6">
                  <a:moveTo>
                    <a:pt x="4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6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91" name="Freeform 2912"/>
            <p:cNvSpPr>
              <a:spLocks/>
            </p:cNvSpPr>
            <p:nvPr/>
          </p:nvSpPr>
          <p:spPr bwMode="auto">
            <a:xfrm>
              <a:off x="5409411" y="1765419"/>
              <a:ext cx="7713" cy="7713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6" y="0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92" name="Freeform 2913"/>
            <p:cNvSpPr>
              <a:spLocks/>
            </p:cNvSpPr>
            <p:nvPr/>
          </p:nvSpPr>
          <p:spPr bwMode="auto">
            <a:xfrm>
              <a:off x="5309142" y="1773132"/>
              <a:ext cx="740445" cy="1516885"/>
            </a:xfrm>
            <a:custGeom>
              <a:avLst/>
              <a:gdLst/>
              <a:ahLst/>
              <a:cxnLst>
                <a:cxn ang="0">
                  <a:pos x="0" y="130"/>
                </a:cxn>
                <a:cxn ang="0">
                  <a:pos x="30" y="268"/>
                </a:cxn>
                <a:cxn ang="0">
                  <a:pos x="168" y="352"/>
                </a:cxn>
                <a:cxn ang="0">
                  <a:pos x="178" y="410"/>
                </a:cxn>
                <a:cxn ang="0">
                  <a:pos x="194" y="484"/>
                </a:cxn>
                <a:cxn ang="0">
                  <a:pos x="266" y="554"/>
                </a:cxn>
                <a:cxn ang="0">
                  <a:pos x="274" y="610"/>
                </a:cxn>
                <a:cxn ang="0">
                  <a:pos x="214" y="676"/>
                </a:cxn>
                <a:cxn ang="0">
                  <a:pos x="234" y="716"/>
                </a:cxn>
                <a:cxn ang="0">
                  <a:pos x="194" y="786"/>
                </a:cxn>
                <a:cxn ang="0">
                  <a:pos x="194" y="816"/>
                </a:cxn>
                <a:cxn ang="0">
                  <a:pos x="196" y="816"/>
                </a:cxn>
                <a:cxn ang="0">
                  <a:pos x="196" y="820"/>
                </a:cxn>
                <a:cxn ang="0">
                  <a:pos x="194" y="820"/>
                </a:cxn>
                <a:cxn ang="0">
                  <a:pos x="194" y="834"/>
                </a:cxn>
                <a:cxn ang="0">
                  <a:pos x="292" y="960"/>
                </a:cxn>
                <a:cxn ang="0">
                  <a:pos x="324" y="960"/>
                </a:cxn>
                <a:cxn ang="0">
                  <a:pos x="324" y="1040"/>
                </a:cxn>
                <a:cxn ang="0">
                  <a:pos x="404" y="1098"/>
                </a:cxn>
                <a:cxn ang="0">
                  <a:pos x="434" y="1180"/>
                </a:cxn>
                <a:cxn ang="0">
                  <a:pos x="456" y="1136"/>
                </a:cxn>
                <a:cxn ang="0">
                  <a:pos x="506" y="1162"/>
                </a:cxn>
                <a:cxn ang="0">
                  <a:pos x="548" y="1106"/>
                </a:cxn>
                <a:cxn ang="0">
                  <a:pos x="560" y="1024"/>
                </a:cxn>
                <a:cxn ang="0">
                  <a:pos x="576" y="942"/>
                </a:cxn>
                <a:cxn ang="0">
                  <a:pos x="538" y="578"/>
                </a:cxn>
                <a:cxn ang="0">
                  <a:pos x="536" y="580"/>
                </a:cxn>
                <a:cxn ang="0">
                  <a:pos x="534" y="578"/>
                </a:cxn>
                <a:cxn ang="0">
                  <a:pos x="574" y="942"/>
                </a:cxn>
                <a:cxn ang="0">
                  <a:pos x="554" y="1024"/>
                </a:cxn>
                <a:cxn ang="0">
                  <a:pos x="546" y="1106"/>
                </a:cxn>
                <a:cxn ang="0">
                  <a:pos x="506" y="1158"/>
                </a:cxn>
                <a:cxn ang="0">
                  <a:pos x="456" y="1130"/>
                </a:cxn>
                <a:cxn ang="0">
                  <a:pos x="434" y="1172"/>
                </a:cxn>
                <a:cxn ang="0">
                  <a:pos x="406" y="1094"/>
                </a:cxn>
                <a:cxn ang="0">
                  <a:pos x="328" y="1040"/>
                </a:cxn>
                <a:cxn ang="0">
                  <a:pos x="328" y="956"/>
                </a:cxn>
                <a:cxn ang="0">
                  <a:pos x="294" y="956"/>
                </a:cxn>
                <a:cxn ang="0">
                  <a:pos x="198" y="834"/>
                </a:cxn>
                <a:cxn ang="0">
                  <a:pos x="198" y="786"/>
                </a:cxn>
                <a:cxn ang="0">
                  <a:pos x="240" y="716"/>
                </a:cxn>
                <a:cxn ang="0">
                  <a:pos x="220" y="676"/>
                </a:cxn>
                <a:cxn ang="0">
                  <a:pos x="276" y="610"/>
                </a:cxn>
                <a:cxn ang="0">
                  <a:pos x="268" y="550"/>
                </a:cxn>
                <a:cxn ang="0">
                  <a:pos x="198" y="484"/>
                </a:cxn>
                <a:cxn ang="0">
                  <a:pos x="170" y="350"/>
                </a:cxn>
                <a:cxn ang="0">
                  <a:pos x="32" y="268"/>
                </a:cxn>
                <a:cxn ang="0">
                  <a:pos x="4" y="134"/>
                </a:cxn>
                <a:cxn ang="0">
                  <a:pos x="40" y="92"/>
                </a:cxn>
                <a:cxn ang="0">
                  <a:pos x="82" y="0"/>
                </a:cxn>
                <a:cxn ang="0">
                  <a:pos x="78" y="0"/>
                </a:cxn>
                <a:cxn ang="0">
                  <a:pos x="40" y="88"/>
                </a:cxn>
                <a:cxn ang="0">
                  <a:pos x="0" y="130"/>
                </a:cxn>
              </a:cxnLst>
              <a:rect l="0" t="0" r="r" b="b"/>
              <a:pathLst>
                <a:path w="576" h="1180">
                  <a:moveTo>
                    <a:pt x="0" y="130"/>
                  </a:moveTo>
                  <a:lnTo>
                    <a:pt x="30" y="268"/>
                  </a:lnTo>
                  <a:lnTo>
                    <a:pt x="168" y="352"/>
                  </a:lnTo>
                  <a:lnTo>
                    <a:pt x="178" y="410"/>
                  </a:lnTo>
                  <a:lnTo>
                    <a:pt x="194" y="484"/>
                  </a:lnTo>
                  <a:lnTo>
                    <a:pt x="266" y="554"/>
                  </a:lnTo>
                  <a:lnTo>
                    <a:pt x="274" y="610"/>
                  </a:lnTo>
                  <a:lnTo>
                    <a:pt x="214" y="676"/>
                  </a:lnTo>
                  <a:lnTo>
                    <a:pt x="234" y="716"/>
                  </a:lnTo>
                  <a:lnTo>
                    <a:pt x="194" y="786"/>
                  </a:lnTo>
                  <a:lnTo>
                    <a:pt x="194" y="816"/>
                  </a:lnTo>
                  <a:lnTo>
                    <a:pt x="196" y="816"/>
                  </a:lnTo>
                  <a:lnTo>
                    <a:pt x="196" y="820"/>
                  </a:lnTo>
                  <a:lnTo>
                    <a:pt x="194" y="820"/>
                  </a:lnTo>
                  <a:lnTo>
                    <a:pt x="194" y="834"/>
                  </a:lnTo>
                  <a:lnTo>
                    <a:pt x="292" y="960"/>
                  </a:lnTo>
                  <a:lnTo>
                    <a:pt x="324" y="960"/>
                  </a:lnTo>
                  <a:lnTo>
                    <a:pt x="324" y="1040"/>
                  </a:lnTo>
                  <a:lnTo>
                    <a:pt x="404" y="1098"/>
                  </a:lnTo>
                  <a:lnTo>
                    <a:pt x="434" y="1180"/>
                  </a:lnTo>
                  <a:lnTo>
                    <a:pt x="456" y="1136"/>
                  </a:lnTo>
                  <a:lnTo>
                    <a:pt x="506" y="1162"/>
                  </a:lnTo>
                  <a:lnTo>
                    <a:pt x="548" y="1106"/>
                  </a:lnTo>
                  <a:lnTo>
                    <a:pt x="560" y="1024"/>
                  </a:lnTo>
                  <a:lnTo>
                    <a:pt x="576" y="942"/>
                  </a:lnTo>
                  <a:lnTo>
                    <a:pt x="538" y="578"/>
                  </a:lnTo>
                  <a:lnTo>
                    <a:pt x="536" y="580"/>
                  </a:lnTo>
                  <a:lnTo>
                    <a:pt x="534" y="578"/>
                  </a:lnTo>
                  <a:lnTo>
                    <a:pt x="574" y="942"/>
                  </a:lnTo>
                  <a:lnTo>
                    <a:pt x="554" y="1024"/>
                  </a:lnTo>
                  <a:lnTo>
                    <a:pt x="546" y="1106"/>
                  </a:lnTo>
                  <a:lnTo>
                    <a:pt x="506" y="1158"/>
                  </a:lnTo>
                  <a:lnTo>
                    <a:pt x="456" y="1130"/>
                  </a:lnTo>
                  <a:lnTo>
                    <a:pt x="434" y="1172"/>
                  </a:lnTo>
                  <a:lnTo>
                    <a:pt x="406" y="1094"/>
                  </a:lnTo>
                  <a:lnTo>
                    <a:pt x="328" y="1040"/>
                  </a:lnTo>
                  <a:lnTo>
                    <a:pt x="328" y="956"/>
                  </a:lnTo>
                  <a:lnTo>
                    <a:pt x="294" y="956"/>
                  </a:lnTo>
                  <a:lnTo>
                    <a:pt x="198" y="834"/>
                  </a:lnTo>
                  <a:lnTo>
                    <a:pt x="198" y="786"/>
                  </a:lnTo>
                  <a:lnTo>
                    <a:pt x="240" y="716"/>
                  </a:lnTo>
                  <a:lnTo>
                    <a:pt x="220" y="676"/>
                  </a:lnTo>
                  <a:lnTo>
                    <a:pt x="276" y="610"/>
                  </a:lnTo>
                  <a:lnTo>
                    <a:pt x="268" y="550"/>
                  </a:lnTo>
                  <a:lnTo>
                    <a:pt x="198" y="484"/>
                  </a:lnTo>
                  <a:lnTo>
                    <a:pt x="170" y="350"/>
                  </a:lnTo>
                  <a:lnTo>
                    <a:pt x="32" y="268"/>
                  </a:lnTo>
                  <a:lnTo>
                    <a:pt x="4" y="134"/>
                  </a:lnTo>
                  <a:lnTo>
                    <a:pt x="40" y="92"/>
                  </a:lnTo>
                  <a:lnTo>
                    <a:pt x="82" y="0"/>
                  </a:lnTo>
                  <a:lnTo>
                    <a:pt x="78" y="0"/>
                  </a:lnTo>
                  <a:lnTo>
                    <a:pt x="40" y="88"/>
                  </a:lnTo>
                  <a:lnTo>
                    <a:pt x="0" y="13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93" name="Rectangle 2914"/>
            <p:cNvSpPr>
              <a:spLocks noChangeArrowheads="1"/>
            </p:cNvSpPr>
            <p:nvPr/>
          </p:nvSpPr>
          <p:spPr bwMode="auto">
            <a:xfrm>
              <a:off x="5558529" y="2822097"/>
              <a:ext cx="2571" cy="5142"/>
            </a:xfrm>
            <a:prstGeom prst="rect">
              <a:avLst/>
            </a:prstGeom>
            <a:grpFill/>
            <a:ln w="127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94" name="Freeform 2915"/>
            <p:cNvSpPr>
              <a:spLocks/>
            </p:cNvSpPr>
            <p:nvPr/>
          </p:nvSpPr>
          <p:spPr bwMode="auto">
            <a:xfrm>
              <a:off x="4987769" y="2297614"/>
              <a:ext cx="550192" cy="30852"/>
            </a:xfrm>
            <a:custGeom>
              <a:avLst/>
              <a:gdLst/>
              <a:ahLst/>
              <a:cxnLst>
                <a:cxn ang="0">
                  <a:pos x="428" y="6"/>
                </a:cxn>
                <a:cxn ang="0">
                  <a:pos x="426" y="0"/>
                </a:cxn>
                <a:cxn ang="0">
                  <a:pos x="0" y="16"/>
                </a:cxn>
                <a:cxn ang="0">
                  <a:pos x="0" y="24"/>
                </a:cxn>
                <a:cxn ang="0">
                  <a:pos x="428" y="6"/>
                </a:cxn>
              </a:cxnLst>
              <a:rect l="0" t="0" r="r" b="b"/>
              <a:pathLst>
                <a:path w="428" h="24">
                  <a:moveTo>
                    <a:pt x="428" y="6"/>
                  </a:moveTo>
                  <a:lnTo>
                    <a:pt x="426" y="0"/>
                  </a:lnTo>
                  <a:lnTo>
                    <a:pt x="0" y="16"/>
                  </a:lnTo>
                  <a:lnTo>
                    <a:pt x="0" y="24"/>
                  </a:lnTo>
                  <a:lnTo>
                    <a:pt x="428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95" name="Freeform 2916"/>
            <p:cNvSpPr>
              <a:spLocks/>
            </p:cNvSpPr>
            <p:nvPr/>
          </p:nvSpPr>
          <p:spPr bwMode="auto">
            <a:xfrm>
              <a:off x="4977485" y="2328466"/>
              <a:ext cx="1286" cy="2571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96" name="Freeform 2917"/>
            <p:cNvSpPr>
              <a:spLocks/>
            </p:cNvSpPr>
            <p:nvPr/>
          </p:nvSpPr>
          <p:spPr bwMode="auto">
            <a:xfrm>
              <a:off x="4977485" y="2318182"/>
              <a:ext cx="10284" cy="1285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0" y="0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8" y="8"/>
                </a:cxn>
                <a:cxn ang="0">
                  <a:pos x="8" y="0"/>
                </a:cxn>
              </a:cxnLst>
              <a:rect l="0" t="0" r="r" b="b"/>
              <a:pathLst>
                <a:path w="8" h="10">
                  <a:moveTo>
                    <a:pt x="8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0" y="10"/>
                  </a:lnTo>
                  <a:lnTo>
                    <a:pt x="8" y="8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97" name="Freeform 2918"/>
            <p:cNvSpPr>
              <a:spLocks/>
            </p:cNvSpPr>
            <p:nvPr/>
          </p:nvSpPr>
          <p:spPr bwMode="auto">
            <a:xfrm>
              <a:off x="4167622" y="2004521"/>
              <a:ext cx="786723" cy="7713"/>
            </a:xfrm>
            <a:custGeom>
              <a:avLst/>
              <a:gdLst/>
              <a:ahLst/>
              <a:cxnLst>
                <a:cxn ang="0">
                  <a:pos x="612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610" y="4"/>
                </a:cxn>
                <a:cxn ang="0">
                  <a:pos x="612" y="0"/>
                </a:cxn>
              </a:cxnLst>
              <a:rect l="0" t="0" r="r" b="b"/>
              <a:pathLst>
                <a:path w="612" h="6">
                  <a:moveTo>
                    <a:pt x="612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610" y="4"/>
                  </a:lnTo>
                  <a:lnTo>
                    <a:pt x="61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98" name="Rectangle 2919"/>
            <p:cNvSpPr>
              <a:spLocks noChangeArrowheads="1"/>
            </p:cNvSpPr>
            <p:nvPr/>
          </p:nvSpPr>
          <p:spPr bwMode="auto">
            <a:xfrm>
              <a:off x="4165051" y="2007092"/>
              <a:ext cx="2571" cy="5142"/>
            </a:xfrm>
            <a:prstGeom prst="rect">
              <a:avLst/>
            </a:prstGeom>
            <a:grpFill/>
            <a:ln w="127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99" name="Freeform 2920"/>
            <p:cNvSpPr>
              <a:spLocks/>
            </p:cNvSpPr>
            <p:nvPr/>
          </p:nvSpPr>
          <p:spPr bwMode="auto">
            <a:xfrm>
              <a:off x="5882473" y="1942818"/>
              <a:ext cx="17997" cy="514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14" y="4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4" y="4"/>
                </a:cxn>
              </a:cxnLst>
              <a:rect l="0" t="0" r="r" b="b"/>
              <a:pathLst>
                <a:path w="14" h="4">
                  <a:moveTo>
                    <a:pt x="4" y="4"/>
                  </a:moveTo>
                  <a:lnTo>
                    <a:pt x="14" y="4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00" name="Freeform 2921"/>
            <p:cNvSpPr>
              <a:spLocks/>
            </p:cNvSpPr>
            <p:nvPr/>
          </p:nvSpPr>
          <p:spPr bwMode="auto">
            <a:xfrm>
              <a:off x="5537961" y="1791129"/>
              <a:ext cx="349655" cy="156830"/>
            </a:xfrm>
            <a:custGeom>
              <a:avLst/>
              <a:gdLst/>
              <a:ahLst/>
              <a:cxnLst>
                <a:cxn ang="0">
                  <a:pos x="230" y="84"/>
                </a:cxn>
                <a:cxn ang="0">
                  <a:pos x="240" y="122"/>
                </a:cxn>
                <a:cxn ang="0">
                  <a:pos x="272" y="122"/>
                </a:cxn>
                <a:cxn ang="0">
                  <a:pos x="268" y="122"/>
                </a:cxn>
                <a:cxn ang="0">
                  <a:pos x="268" y="118"/>
                </a:cxn>
                <a:cxn ang="0">
                  <a:pos x="242" y="118"/>
                </a:cxn>
                <a:cxn ang="0">
                  <a:pos x="236" y="80"/>
                </a:cxn>
                <a:cxn ang="0">
                  <a:pos x="24" y="52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22" y="58"/>
                </a:cxn>
                <a:cxn ang="0">
                  <a:pos x="230" y="84"/>
                </a:cxn>
              </a:cxnLst>
              <a:rect l="0" t="0" r="r" b="b"/>
              <a:pathLst>
                <a:path w="272" h="122">
                  <a:moveTo>
                    <a:pt x="230" y="84"/>
                  </a:moveTo>
                  <a:lnTo>
                    <a:pt x="240" y="122"/>
                  </a:lnTo>
                  <a:lnTo>
                    <a:pt x="272" y="122"/>
                  </a:lnTo>
                  <a:lnTo>
                    <a:pt x="268" y="122"/>
                  </a:lnTo>
                  <a:lnTo>
                    <a:pt x="268" y="118"/>
                  </a:lnTo>
                  <a:lnTo>
                    <a:pt x="242" y="118"/>
                  </a:lnTo>
                  <a:lnTo>
                    <a:pt x="236" y="80"/>
                  </a:lnTo>
                  <a:lnTo>
                    <a:pt x="24" y="52"/>
                  </a:lnTo>
                  <a:lnTo>
                    <a:pt x="6" y="0"/>
                  </a:lnTo>
                  <a:lnTo>
                    <a:pt x="0" y="0"/>
                  </a:lnTo>
                  <a:lnTo>
                    <a:pt x="22" y="58"/>
                  </a:lnTo>
                  <a:lnTo>
                    <a:pt x="230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01" name="Freeform 2922"/>
            <p:cNvSpPr>
              <a:spLocks/>
            </p:cNvSpPr>
            <p:nvPr/>
          </p:nvSpPr>
          <p:spPr bwMode="auto">
            <a:xfrm>
              <a:off x="5142028" y="2917223"/>
              <a:ext cx="182540" cy="979548"/>
            </a:xfrm>
            <a:custGeom>
              <a:avLst/>
              <a:gdLst/>
              <a:ahLst/>
              <a:cxnLst>
                <a:cxn ang="0">
                  <a:pos x="28" y="66"/>
                </a:cxn>
                <a:cxn ang="0">
                  <a:pos x="46" y="0"/>
                </a:cxn>
                <a:cxn ang="0">
                  <a:pos x="0" y="0"/>
                </a:cxn>
                <a:cxn ang="0">
                  <a:pos x="2" y="6"/>
                </a:cxn>
                <a:cxn ang="0">
                  <a:pos x="38" y="6"/>
                </a:cxn>
                <a:cxn ang="0">
                  <a:pos x="22" y="68"/>
                </a:cxn>
                <a:cxn ang="0">
                  <a:pos x="76" y="96"/>
                </a:cxn>
                <a:cxn ang="0">
                  <a:pos x="96" y="344"/>
                </a:cxn>
                <a:cxn ang="0">
                  <a:pos x="102" y="344"/>
                </a:cxn>
                <a:cxn ang="0">
                  <a:pos x="100" y="350"/>
                </a:cxn>
                <a:cxn ang="0">
                  <a:pos x="98" y="350"/>
                </a:cxn>
                <a:cxn ang="0">
                  <a:pos x="132" y="758"/>
                </a:cxn>
                <a:cxn ang="0">
                  <a:pos x="142" y="762"/>
                </a:cxn>
                <a:cxn ang="0">
                  <a:pos x="110" y="404"/>
                </a:cxn>
                <a:cxn ang="0">
                  <a:pos x="106" y="404"/>
                </a:cxn>
                <a:cxn ang="0">
                  <a:pos x="106" y="400"/>
                </a:cxn>
                <a:cxn ang="0">
                  <a:pos x="110" y="400"/>
                </a:cxn>
                <a:cxn ang="0">
                  <a:pos x="82" y="90"/>
                </a:cxn>
                <a:cxn ang="0">
                  <a:pos x="28" y="66"/>
                </a:cxn>
              </a:cxnLst>
              <a:rect l="0" t="0" r="r" b="b"/>
              <a:pathLst>
                <a:path w="142" h="762">
                  <a:moveTo>
                    <a:pt x="28" y="66"/>
                  </a:moveTo>
                  <a:lnTo>
                    <a:pt x="46" y="0"/>
                  </a:lnTo>
                  <a:lnTo>
                    <a:pt x="0" y="0"/>
                  </a:lnTo>
                  <a:lnTo>
                    <a:pt x="2" y="6"/>
                  </a:lnTo>
                  <a:lnTo>
                    <a:pt x="38" y="6"/>
                  </a:lnTo>
                  <a:lnTo>
                    <a:pt x="22" y="68"/>
                  </a:lnTo>
                  <a:lnTo>
                    <a:pt x="76" y="96"/>
                  </a:lnTo>
                  <a:lnTo>
                    <a:pt x="96" y="344"/>
                  </a:lnTo>
                  <a:lnTo>
                    <a:pt x="102" y="344"/>
                  </a:lnTo>
                  <a:lnTo>
                    <a:pt x="100" y="350"/>
                  </a:lnTo>
                  <a:lnTo>
                    <a:pt x="98" y="350"/>
                  </a:lnTo>
                  <a:lnTo>
                    <a:pt x="132" y="758"/>
                  </a:lnTo>
                  <a:lnTo>
                    <a:pt x="142" y="762"/>
                  </a:lnTo>
                  <a:lnTo>
                    <a:pt x="110" y="404"/>
                  </a:lnTo>
                  <a:lnTo>
                    <a:pt x="106" y="404"/>
                  </a:lnTo>
                  <a:lnTo>
                    <a:pt x="106" y="400"/>
                  </a:lnTo>
                  <a:lnTo>
                    <a:pt x="110" y="400"/>
                  </a:lnTo>
                  <a:lnTo>
                    <a:pt x="82" y="90"/>
                  </a:lnTo>
                  <a:lnTo>
                    <a:pt x="28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02" name="Freeform 2923"/>
            <p:cNvSpPr>
              <a:spLocks/>
            </p:cNvSpPr>
            <p:nvPr/>
          </p:nvSpPr>
          <p:spPr bwMode="auto">
            <a:xfrm>
              <a:off x="5311713" y="3891629"/>
              <a:ext cx="12855" cy="10284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10" y="8"/>
                </a:cxn>
                <a:cxn ang="0">
                  <a:pos x="10" y="4"/>
                </a:cxn>
                <a:cxn ang="0">
                  <a:pos x="0" y="0"/>
                </a:cxn>
                <a:cxn ang="0">
                  <a:pos x="0" y="4"/>
                </a:cxn>
              </a:cxnLst>
              <a:rect l="0" t="0" r="r" b="b"/>
              <a:pathLst>
                <a:path w="10" h="8">
                  <a:moveTo>
                    <a:pt x="0" y="4"/>
                  </a:moveTo>
                  <a:lnTo>
                    <a:pt x="10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03" name="Freeform 2924"/>
            <p:cNvSpPr>
              <a:spLocks/>
            </p:cNvSpPr>
            <p:nvPr/>
          </p:nvSpPr>
          <p:spPr bwMode="auto">
            <a:xfrm>
              <a:off x="5265436" y="3359434"/>
              <a:ext cx="7713" cy="7713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0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6" y="0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0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04" name="Freeform 2925"/>
            <p:cNvSpPr>
              <a:spLocks/>
            </p:cNvSpPr>
            <p:nvPr/>
          </p:nvSpPr>
          <p:spPr bwMode="auto">
            <a:xfrm>
              <a:off x="5134315" y="2917223"/>
              <a:ext cx="10284" cy="77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8" y="6"/>
                </a:cxn>
                <a:cxn ang="0">
                  <a:pos x="6" y="0"/>
                </a:cxn>
                <a:cxn ang="0">
                  <a:pos x="0" y="0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0" y="6"/>
                  </a:lnTo>
                  <a:lnTo>
                    <a:pt x="8" y="6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05" name="Freeform 2926"/>
            <p:cNvSpPr>
              <a:spLocks/>
            </p:cNvSpPr>
            <p:nvPr/>
          </p:nvSpPr>
          <p:spPr bwMode="auto">
            <a:xfrm>
              <a:off x="7512482" y="2958359"/>
              <a:ext cx="5142" cy="514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2" y="4"/>
                </a:cxn>
                <a:cxn ang="0">
                  <a:pos x="4" y="4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06" name="Freeform 2927"/>
            <p:cNvSpPr>
              <a:spLocks/>
            </p:cNvSpPr>
            <p:nvPr/>
          </p:nvSpPr>
          <p:spPr bwMode="auto">
            <a:xfrm>
              <a:off x="5283432" y="2958359"/>
              <a:ext cx="2231620" cy="529624"/>
            </a:xfrm>
            <a:custGeom>
              <a:avLst/>
              <a:gdLst/>
              <a:ahLst/>
              <a:cxnLst>
                <a:cxn ang="0">
                  <a:pos x="1024" y="202"/>
                </a:cxn>
                <a:cxn ang="0">
                  <a:pos x="1022" y="206"/>
                </a:cxn>
                <a:cxn ang="0">
                  <a:pos x="1014" y="210"/>
                </a:cxn>
                <a:cxn ang="0">
                  <a:pos x="1018" y="204"/>
                </a:cxn>
                <a:cxn ang="0">
                  <a:pos x="756" y="258"/>
                </a:cxn>
                <a:cxn ang="0">
                  <a:pos x="476" y="304"/>
                </a:cxn>
                <a:cxn ang="0">
                  <a:pos x="454" y="308"/>
                </a:cxn>
                <a:cxn ang="0">
                  <a:pos x="454" y="402"/>
                </a:cxn>
                <a:cxn ang="0">
                  <a:pos x="374" y="408"/>
                </a:cxn>
                <a:cxn ang="0">
                  <a:pos x="390" y="360"/>
                </a:cxn>
                <a:cxn ang="0">
                  <a:pos x="0" y="368"/>
                </a:cxn>
                <a:cxn ang="0">
                  <a:pos x="0" y="372"/>
                </a:cxn>
                <a:cxn ang="0">
                  <a:pos x="384" y="364"/>
                </a:cxn>
                <a:cxn ang="0">
                  <a:pos x="366" y="412"/>
                </a:cxn>
                <a:cxn ang="0">
                  <a:pos x="450" y="406"/>
                </a:cxn>
                <a:cxn ang="0">
                  <a:pos x="450" y="404"/>
                </a:cxn>
                <a:cxn ang="0">
                  <a:pos x="454" y="404"/>
                </a:cxn>
                <a:cxn ang="0">
                  <a:pos x="454" y="406"/>
                </a:cxn>
                <a:cxn ang="0">
                  <a:pos x="456" y="406"/>
                </a:cxn>
                <a:cxn ang="0">
                  <a:pos x="456" y="310"/>
                </a:cxn>
                <a:cxn ang="0">
                  <a:pos x="478" y="310"/>
                </a:cxn>
                <a:cxn ang="0">
                  <a:pos x="756" y="264"/>
                </a:cxn>
                <a:cxn ang="0">
                  <a:pos x="1186" y="176"/>
                </a:cxn>
                <a:cxn ang="0">
                  <a:pos x="1186" y="176"/>
                </a:cxn>
                <a:cxn ang="0">
                  <a:pos x="1188" y="174"/>
                </a:cxn>
                <a:cxn ang="0">
                  <a:pos x="1192" y="172"/>
                </a:cxn>
                <a:cxn ang="0">
                  <a:pos x="1190" y="174"/>
                </a:cxn>
                <a:cxn ang="0">
                  <a:pos x="1736" y="4"/>
                </a:cxn>
                <a:cxn ang="0">
                  <a:pos x="1734" y="0"/>
                </a:cxn>
                <a:cxn ang="0">
                  <a:pos x="1188" y="172"/>
                </a:cxn>
                <a:cxn ang="0">
                  <a:pos x="1024" y="202"/>
                </a:cxn>
              </a:cxnLst>
              <a:rect l="0" t="0" r="r" b="b"/>
              <a:pathLst>
                <a:path w="1736" h="412">
                  <a:moveTo>
                    <a:pt x="1024" y="202"/>
                  </a:moveTo>
                  <a:lnTo>
                    <a:pt x="1022" y="206"/>
                  </a:lnTo>
                  <a:lnTo>
                    <a:pt x="1014" y="210"/>
                  </a:lnTo>
                  <a:lnTo>
                    <a:pt x="1018" y="204"/>
                  </a:lnTo>
                  <a:lnTo>
                    <a:pt x="756" y="258"/>
                  </a:lnTo>
                  <a:lnTo>
                    <a:pt x="476" y="304"/>
                  </a:lnTo>
                  <a:lnTo>
                    <a:pt x="454" y="308"/>
                  </a:lnTo>
                  <a:lnTo>
                    <a:pt x="454" y="402"/>
                  </a:lnTo>
                  <a:lnTo>
                    <a:pt x="374" y="408"/>
                  </a:lnTo>
                  <a:lnTo>
                    <a:pt x="390" y="360"/>
                  </a:lnTo>
                  <a:lnTo>
                    <a:pt x="0" y="368"/>
                  </a:lnTo>
                  <a:lnTo>
                    <a:pt x="0" y="372"/>
                  </a:lnTo>
                  <a:lnTo>
                    <a:pt x="384" y="364"/>
                  </a:lnTo>
                  <a:lnTo>
                    <a:pt x="366" y="412"/>
                  </a:lnTo>
                  <a:lnTo>
                    <a:pt x="450" y="406"/>
                  </a:lnTo>
                  <a:lnTo>
                    <a:pt x="450" y="404"/>
                  </a:lnTo>
                  <a:lnTo>
                    <a:pt x="454" y="404"/>
                  </a:lnTo>
                  <a:lnTo>
                    <a:pt x="454" y="406"/>
                  </a:lnTo>
                  <a:lnTo>
                    <a:pt x="456" y="406"/>
                  </a:lnTo>
                  <a:lnTo>
                    <a:pt x="456" y="310"/>
                  </a:lnTo>
                  <a:lnTo>
                    <a:pt x="478" y="310"/>
                  </a:lnTo>
                  <a:lnTo>
                    <a:pt x="756" y="264"/>
                  </a:lnTo>
                  <a:lnTo>
                    <a:pt x="1186" y="176"/>
                  </a:lnTo>
                  <a:lnTo>
                    <a:pt x="1186" y="176"/>
                  </a:lnTo>
                  <a:lnTo>
                    <a:pt x="1188" y="174"/>
                  </a:lnTo>
                  <a:lnTo>
                    <a:pt x="1192" y="172"/>
                  </a:lnTo>
                  <a:lnTo>
                    <a:pt x="1190" y="174"/>
                  </a:lnTo>
                  <a:lnTo>
                    <a:pt x="1736" y="4"/>
                  </a:lnTo>
                  <a:lnTo>
                    <a:pt x="1734" y="0"/>
                  </a:lnTo>
                  <a:lnTo>
                    <a:pt x="1188" y="172"/>
                  </a:lnTo>
                  <a:lnTo>
                    <a:pt x="1024" y="20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07" name="Freeform 2928"/>
            <p:cNvSpPr>
              <a:spLocks/>
            </p:cNvSpPr>
            <p:nvPr/>
          </p:nvSpPr>
          <p:spPr bwMode="auto">
            <a:xfrm>
              <a:off x="6808030" y="3179464"/>
              <a:ext cx="7713" cy="5142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4" y="2"/>
                </a:cxn>
                <a:cxn ang="0">
                  <a:pos x="6" y="0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lnTo>
                    <a:pt x="2" y="2"/>
                  </a:lnTo>
                  <a:lnTo>
                    <a:pt x="0" y="4"/>
                  </a:lnTo>
                  <a:lnTo>
                    <a:pt x="4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08" name="Freeform 2929"/>
            <p:cNvSpPr>
              <a:spLocks/>
            </p:cNvSpPr>
            <p:nvPr/>
          </p:nvSpPr>
          <p:spPr bwMode="auto">
            <a:xfrm>
              <a:off x="6586925" y="3218029"/>
              <a:ext cx="12855" cy="10284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0" y="8"/>
                </a:cxn>
                <a:cxn ang="0">
                  <a:pos x="8" y="4"/>
                </a:cxn>
                <a:cxn ang="0">
                  <a:pos x="10" y="0"/>
                </a:cxn>
                <a:cxn ang="0">
                  <a:pos x="10" y="0"/>
                </a:cxn>
                <a:cxn ang="0">
                  <a:pos x="4" y="2"/>
                </a:cxn>
              </a:cxnLst>
              <a:rect l="0" t="0" r="r" b="b"/>
              <a:pathLst>
                <a:path w="10" h="8">
                  <a:moveTo>
                    <a:pt x="4" y="2"/>
                  </a:moveTo>
                  <a:lnTo>
                    <a:pt x="0" y="8"/>
                  </a:lnTo>
                  <a:lnTo>
                    <a:pt x="8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09" name="Rectangle 2930"/>
            <p:cNvSpPr>
              <a:spLocks noChangeArrowheads="1"/>
            </p:cNvSpPr>
            <p:nvPr/>
          </p:nvSpPr>
          <p:spPr bwMode="auto">
            <a:xfrm>
              <a:off x="5278291" y="3431422"/>
              <a:ext cx="5142" cy="5142"/>
            </a:xfrm>
            <a:prstGeom prst="rect">
              <a:avLst/>
            </a:prstGeom>
            <a:grpFill/>
            <a:ln w="127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10" name="Freeform 2931"/>
            <p:cNvSpPr>
              <a:spLocks/>
            </p:cNvSpPr>
            <p:nvPr/>
          </p:nvSpPr>
          <p:spPr bwMode="auto">
            <a:xfrm>
              <a:off x="7260525" y="3495696"/>
              <a:ext cx="5142" cy="7713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6"/>
                </a:cxn>
                <a:cxn ang="0">
                  <a:pos x="2" y="6"/>
                </a:cxn>
              </a:cxnLst>
              <a:rect l="0" t="0" r="r" b="b"/>
              <a:pathLst>
                <a:path w="4" h="6">
                  <a:moveTo>
                    <a:pt x="2" y="6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11" name="Freeform 2932"/>
            <p:cNvSpPr>
              <a:spLocks/>
            </p:cNvSpPr>
            <p:nvPr/>
          </p:nvSpPr>
          <p:spPr bwMode="auto">
            <a:xfrm>
              <a:off x="6005881" y="4333839"/>
              <a:ext cx="7713" cy="514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4"/>
                </a:cxn>
              </a:cxnLst>
              <a:rect l="0" t="0" r="r" b="b"/>
              <a:pathLst>
                <a:path w="6" h="4">
                  <a:moveTo>
                    <a:pt x="0" y="4"/>
                  </a:moveTo>
                  <a:lnTo>
                    <a:pt x="6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12" name="Freeform 2933"/>
            <p:cNvSpPr>
              <a:spLocks/>
            </p:cNvSpPr>
            <p:nvPr/>
          </p:nvSpPr>
          <p:spPr bwMode="auto">
            <a:xfrm>
              <a:off x="5381130" y="3362005"/>
              <a:ext cx="1881966" cy="971835"/>
            </a:xfrm>
            <a:custGeom>
              <a:avLst/>
              <a:gdLst/>
              <a:ahLst/>
              <a:cxnLst>
                <a:cxn ang="0">
                  <a:pos x="1250" y="34"/>
                </a:cxn>
                <a:cxn ang="0">
                  <a:pos x="1218" y="0"/>
                </a:cxn>
                <a:cxn ang="0">
                  <a:pos x="968" y="98"/>
                </a:cxn>
                <a:cxn ang="0">
                  <a:pos x="906" y="108"/>
                </a:cxn>
                <a:cxn ang="0">
                  <a:pos x="906" y="108"/>
                </a:cxn>
                <a:cxn ang="0">
                  <a:pos x="900" y="112"/>
                </a:cxn>
                <a:cxn ang="0">
                  <a:pos x="902" y="108"/>
                </a:cxn>
                <a:cxn ang="0">
                  <a:pos x="554" y="166"/>
                </a:cxn>
                <a:cxn ang="0">
                  <a:pos x="348" y="186"/>
                </a:cxn>
                <a:cxn ang="0">
                  <a:pos x="378" y="92"/>
                </a:cxn>
                <a:cxn ang="0">
                  <a:pos x="374" y="92"/>
                </a:cxn>
                <a:cxn ang="0">
                  <a:pos x="270" y="410"/>
                </a:cxn>
                <a:cxn ang="0">
                  <a:pos x="280" y="450"/>
                </a:cxn>
                <a:cxn ang="0">
                  <a:pos x="0" y="470"/>
                </a:cxn>
                <a:cxn ang="0">
                  <a:pos x="0" y="474"/>
                </a:cxn>
                <a:cxn ang="0">
                  <a:pos x="280" y="454"/>
                </a:cxn>
                <a:cxn ang="0">
                  <a:pos x="310" y="544"/>
                </a:cxn>
                <a:cxn ang="0">
                  <a:pos x="276" y="694"/>
                </a:cxn>
                <a:cxn ang="0">
                  <a:pos x="448" y="684"/>
                </a:cxn>
                <a:cxn ang="0">
                  <a:pos x="486" y="756"/>
                </a:cxn>
                <a:cxn ang="0">
                  <a:pos x="490" y="756"/>
                </a:cxn>
                <a:cxn ang="0">
                  <a:pos x="452" y="678"/>
                </a:cxn>
                <a:cxn ang="0">
                  <a:pos x="280" y="692"/>
                </a:cxn>
                <a:cxn ang="0">
                  <a:pos x="312" y="542"/>
                </a:cxn>
                <a:cxn ang="0">
                  <a:pos x="274" y="410"/>
                </a:cxn>
                <a:cxn ang="0">
                  <a:pos x="348" y="192"/>
                </a:cxn>
                <a:cxn ang="0">
                  <a:pos x="552" y="170"/>
                </a:cxn>
                <a:cxn ang="0">
                  <a:pos x="780" y="134"/>
                </a:cxn>
                <a:cxn ang="0">
                  <a:pos x="780" y="132"/>
                </a:cxn>
                <a:cxn ang="0">
                  <a:pos x="786" y="130"/>
                </a:cxn>
                <a:cxn ang="0">
                  <a:pos x="786" y="132"/>
                </a:cxn>
                <a:cxn ang="0">
                  <a:pos x="968" y="102"/>
                </a:cxn>
                <a:cxn ang="0">
                  <a:pos x="1218" y="6"/>
                </a:cxn>
                <a:cxn ang="0">
                  <a:pos x="1248" y="38"/>
                </a:cxn>
                <a:cxn ang="0">
                  <a:pos x="1330" y="22"/>
                </a:cxn>
                <a:cxn ang="0">
                  <a:pos x="1462" y="110"/>
                </a:cxn>
                <a:cxn ang="0">
                  <a:pos x="1464" y="104"/>
                </a:cxn>
                <a:cxn ang="0">
                  <a:pos x="1330" y="16"/>
                </a:cxn>
                <a:cxn ang="0">
                  <a:pos x="1250" y="34"/>
                </a:cxn>
              </a:cxnLst>
              <a:rect l="0" t="0" r="r" b="b"/>
              <a:pathLst>
                <a:path w="1464" h="756">
                  <a:moveTo>
                    <a:pt x="1250" y="34"/>
                  </a:moveTo>
                  <a:lnTo>
                    <a:pt x="1218" y="0"/>
                  </a:lnTo>
                  <a:lnTo>
                    <a:pt x="968" y="98"/>
                  </a:lnTo>
                  <a:lnTo>
                    <a:pt x="906" y="108"/>
                  </a:lnTo>
                  <a:lnTo>
                    <a:pt x="906" y="108"/>
                  </a:lnTo>
                  <a:lnTo>
                    <a:pt x="900" y="112"/>
                  </a:lnTo>
                  <a:lnTo>
                    <a:pt x="902" y="108"/>
                  </a:lnTo>
                  <a:lnTo>
                    <a:pt x="554" y="166"/>
                  </a:lnTo>
                  <a:lnTo>
                    <a:pt x="348" y="186"/>
                  </a:lnTo>
                  <a:lnTo>
                    <a:pt x="378" y="92"/>
                  </a:lnTo>
                  <a:lnTo>
                    <a:pt x="374" y="92"/>
                  </a:lnTo>
                  <a:lnTo>
                    <a:pt x="270" y="410"/>
                  </a:lnTo>
                  <a:lnTo>
                    <a:pt x="280" y="450"/>
                  </a:lnTo>
                  <a:lnTo>
                    <a:pt x="0" y="470"/>
                  </a:lnTo>
                  <a:lnTo>
                    <a:pt x="0" y="474"/>
                  </a:lnTo>
                  <a:lnTo>
                    <a:pt x="280" y="454"/>
                  </a:lnTo>
                  <a:lnTo>
                    <a:pt x="310" y="544"/>
                  </a:lnTo>
                  <a:lnTo>
                    <a:pt x="276" y="694"/>
                  </a:lnTo>
                  <a:lnTo>
                    <a:pt x="448" y="684"/>
                  </a:lnTo>
                  <a:lnTo>
                    <a:pt x="486" y="756"/>
                  </a:lnTo>
                  <a:lnTo>
                    <a:pt x="490" y="756"/>
                  </a:lnTo>
                  <a:lnTo>
                    <a:pt x="452" y="678"/>
                  </a:lnTo>
                  <a:lnTo>
                    <a:pt x="280" y="692"/>
                  </a:lnTo>
                  <a:lnTo>
                    <a:pt x="312" y="542"/>
                  </a:lnTo>
                  <a:lnTo>
                    <a:pt x="274" y="410"/>
                  </a:lnTo>
                  <a:lnTo>
                    <a:pt x="348" y="192"/>
                  </a:lnTo>
                  <a:lnTo>
                    <a:pt x="552" y="170"/>
                  </a:lnTo>
                  <a:lnTo>
                    <a:pt x="780" y="134"/>
                  </a:lnTo>
                  <a:lnTo>
                    <a:pt x="780" y="132"/>
                  </a:lnTo>
                  <a:lnTo>
                    <a:pt x="786" y="130"/>
                  </a:lnTo>
                  <a:lnTo>
                    <a:pt x="786" y="132"/>
                  </a:lnTo>
                  <a:lnTo>
                    <a:pt x="968" y="102"/>
                  </a:lnTo>
                  <a:lnTo>
                    <a:pt x="1218" y="6"/>
                  </a:lnTo>
                  <a:lnTo>
                    <a:pt x="1248" y="38"/>
                  </a:lnTo>
                  <a:lnTo>
                    <a:pt x="1330" y="22"/>
                  </a:lnTo>
                  <a:lnTo>
                    <a:pt x="1462" y="110"/>
                  </a:lnTo>
                  <a:lnTo>
                    <a:pt x="1464" y="104"/>
                  </a:lnTo>
                  <a:lnTo>
                    <a:pt x="1330" y="16"/>
                  </a:lnTo>
                  <a:lnTo>
                    <a:pt x="1250" y="3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13" name="Rectangle 2934"/>
            <p:cNvSpPr>
              <a:spLocks noChangeArrowheads="1"/>
            </p:cNvSpPr>
            <p:nvPr/>
          </p:nvSpPr>
          <p:spPr bwMode="auto">
            <a:xfrm>
              <a:off x="5370846" y="3971330"/>
              <a:ext cx="1286" cy="1286"/>
            </a:xfrm>
            <a:prstGeom prst="rect">
              <a:avLst/>
            </a:prstGeom>
            <a:grpFill/>
            <a:ln w="127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14" name="Freeform 2935"/>
            <p:cNvSpPr>
              <a:spLocks/>
            </p:cNvSpPr>
            <p:nvPr/>
          </p:nvSpPr>
          <p:spPr bwMode="auto">
            <a:xfrm>
              <a:off x="6538076" y="3500838"/>
              <a:ext cx="7713" cy="514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2" y="0"/>
                </a:cxn>
                <a:cxn ang="0">
                  <a:pos x="0" y="4"/>
                </a:cxn>
              </a:cxnLst>
              <a:rect l="0" t="0" r="r" b="b"/>
              <a:pathLst>
                <a:path w="6" h="4">
                  <a:moveTo>
                    <a:pt x="0" y="4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15" name="Freeform 2936"/>
            <p:cNvSpPr>
              <a:spLocks/>
            </p:cNvSpPr>
            <p:nvPr/>
          </p:nvSpPr>
          <p:spPr bwMode="auto">
            <a:xfrm>
              <a:off x="5370846" y="3966188"/>
              <a:ext cx="10284" cy="514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4"/>
                </a:cxn>
              </a:cxnLst>
              <a:rect l="0" t="0" r="r" b="b"/>
              <a:pathLst>
                <a:path w="8" h="4">
                  <a:moveTo>
                    <a:pt x="0" y="4"/>
                  </a:moveTo>
                  <a:lnTo>
                    <a:pt x="0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16" name="Rectangle 2937"/>
            <p:cNvSpPr>
              <a:spLocks noChangeArrowheads="1"/>
            </p:cNvSpPr>
            <p:nvPr/>
          </p:nvSpPr>
          <p:spPr bwMode="auto">
            <a:xfrm>
              <a:off x="5861906" y="3477699"/>
              <a:ext cx="5142" cy="2571"/>
            </a:xfrm>
            <a:prstGeom prst="rect">
              <a:avLst/>
            </a:prstGeom>
            <a:grpFill/>
            <a:ln w="127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17" name="Freeform 2938"/>
            <p:cNvSpPr>
              <a:spLocks/>
            </p:cNvSpPr>
            <p:nvPr/>
          </p:nvSpPr>
          <p:spPr bwMode="auto">
            <a:xfrm>
              <a:off x="6265551" y="4277278"/>
              <a:ext cx="7713" cy="514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6" y="4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4"/>
                </a:cxn>
              </a:cxnLst>
              <a:rect l="0" t="0" r="r" b="b"/>
              <a:pathLst>
                <a:path w="6" h="4">
                  <a:moveTo>
                    <a:pt x="0" y="4"/>
                  </a:moveTo>
                  <a:lnTo>
                    <a:pt x="6" y="4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18" name="Freeform 2939"/>
            <p:cNvSpPr>
              <a:spLocks/>
            </p:cNvSpPr>
            <p:nvPr/>
          </p:nvSpPr>
          <p:spPr bwMode="auto">
            <a:xfrm>
              <a:off x="6208989" y="3531690"/>
              <a:ext cx="858711" cy="748158"/>
            </a:xfrm>
            <a:custGeom>
              <a:avLst/>
              <a:gdLst/>
              <a:ahLst/>
              <a:cxnLst>
                <a:cxn ang="0">
                  <a:pos x="278" y="474"/>
                </a:cxn>
                <a:cxn ang="0">
                  <a:pos x="280" y="486"/>
                </a:cxn>
                <a:cxn ang="0">
                  <a:pos x="302" y="516"/>
                </a:cxn>
                <a:cxn ang="0">
                  <a:pos x="562" y="474"/>
                </a:cxn>
                <a:cxn ang="0">
                  <a:pos x="604" y="488"/>
                </a:cxn>
                <a:cxn ang="0">
                  <a:pos x="604" y="438"/>
                </a:cxn>
                <a:cxn ang="0">
                  <a:pos x="668" y="438"/>
                </a:cxn>
                <a:cxn ang="0">
                  <a:pos x="668" y="430"/>
                </a:cxn>
                <a:cxn ang="0">
                  <a:pos x="598" y="432"/>
                </a:cxn>
                <a:cxn ang="0">
                  <a:pos x="598" y="480"/>
                </a:cxn>
                <a:cxn ang="0">
                  <a:pos x="564" y="468"/>
                </a:cxn>
                <a:cxn ang="0">
                  <a:pos x="302" y="510"/>
                </a:cxn>
                <a:cxn ang="0">
                  <a:pos x="284" y="486"/>
                </a:cxn>
                <a:cxn ang="0">
                  <a:pos x="262" y="330"/>
                </a:cxn>
                <a:cxn ang="0">
                  <a:pos x="142" y="0"/>
                </a:cxn>
                <a:cxn ang="0">
                  <a:pos x="136" y="2"/>
                </a:cxn>
                <a:cxn ang="0">
                  <a:pos x="260" y="332"/>
                </a:cxn>
                <a:cxn ang="0">
                  <a:pos x="278" y="468"/>
                </a:cxn>
                <a:cxn ang="0">
                  <a:pos x="0" y="492"/>
                </a:cxn>
                <a:cxn ang="0">
                  <a:pos x="44" y="582"/>
                </a:cxn>
                <a:cxn ang="0">
                  <a:pos x="48" y="580"/>
                </a:cxn>
                <a:cxn ang="0">
                  <a:pos x="4" y="494"/>
                </a:cxn>
                <a:cxn ang="0">
                  <a:pos x="278" y="474"/>
                </a:cxn>
              </a:cxnLst>
              <a:rect l="0" t="0" r="r" b="b"/>
              <a:pathLst>
                <a:path w="668" h="582">
                  <a:moveTo>
                    <a:pt x="278" y="474"/>
                  </a:moveTo>
                  <a:lnTo>
                    <a:pt x="280" y="486"/>
                  </a:lnTo>
                  <a:lnTo>
                    <a:pt x="302" y="516"/>
                  </a:lnTo>
                  <a:lnTo>
                    <a:pt x="562" y="474"/>
                  </a:lnTo>
                  <a:lnTo>
                    <a:pt x="604" y="488"/>
                  </a:lnTo>
                  <a:lnTo>
                    <a:pt x="604" y="438"/>
                  </a:lnTo>
                  <a:lnTo>
                    <a:pt x="668" y="438"/>
                  </a:lnTo>
                  <a:lnTo>
                    <a:pt x="668" y="430"/>
                  </a:lnTo>
                  <a:lnTo>
                    <a:pt x="598" y="432"/>
                  </a:lnTo>
                  <a:lnTo>
                    <a:pt x="598" y="480"/>
                  </a:lnTo>
                  <a:lnTo>
                    <a:pt x="564" y="468"/>
                  </a:lnTo>
                  <a:lnTo>
                    <a:pt x="302" y="510"/>
                  </a:lnTo>
                  <a:lnTo>
                    <a:pt x="284" y="486"/>
                  </a:lnTo>
                  <a:lnTo>
                    <a:pt x="262" y="330"/>
                  </a:lnTo>
                  <a:lnTo>
                    <a:pt x="142" y="0"/>
                  </a:lnTo>
                  <a:lnTo>
                    <a:pt x="136" y="2"/>
                  </a:lnTo>
                  <a:lnTo>
                    <a:pt x="260" y="332"/>
                  </a:lnTo>
                  <a:lnTo>
                    <a:pt x="278" y="468"/>
                  </a:lnTo>
                  <a:lnTo>
                    <a:pt x="0" y="492"/>
                  </a:lnTo>
                  <a:lnTo>
                    <a:pt x="44" y="582"/>
                  </a:lnTo>
                  <a:lnTo>
                    <a:pt x="48" y="580"/>
                  </a:lnTo>
                  <a:lnTo>
                    <a:pt x="4" y="494"/>
                  </a:lnTo>
                  <a:lnTo>
                    <a:pt x="278" y="47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19" name="Freeform 2940"/>
            <p:cNvSpPr>
              <a:spLocks/>
            </p:cNvSpPr>
            <p:nvPr/>
          </p:nvSpPr>
          <p:spPr bwMode="auto">
            <a:xfrm>
              <a:off x="6383817" y="3529119"/>
              <a:ext cx="7713" cy="5142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6" y="2"/>
                </a:cxn>
                <a:cxn ang="0">
                  <a:pos x="6" y="0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6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20" name="Freeform 2941"/>
            <p:cNvSpPr>
              <a:spLocks/>
            </p:cNvSpPr>
            <p:nvPr/>
          </p:nvSpPr>
          <p:spPr bwMode="auto">
            <a:xfrm>
              <a:off x="7093410" y="3855635"/>
              <a:ext cx="5142" cy="7713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6"/>
                </a:cxn>
              </a:cxnLst>
              <a:rect l="0" t="0" r="r" b="b"/>
              <a:pathLst>
                <a:path w="4" h="6">
                  <a:moveTo>
                    <a:pt x="2" y="6"/>
                  </a:moveTo>
                  <a:lnTo>
                    <a:pt x="4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21" name="Freeform 2942"/>
            <p:cNvSpPr>
              <a:spLocks/>
            </p:cNvSpPr>
            <p:nvPr/>
          </p:nvSpPr>
          <p:spPr bwMode="auto">
            <a:xfrm>
              <a:off x="6689765" y="3457131"/>
              <a:ext cx="406217" cy="401075"/>
            </a:xfrm>
            <a:custGeom>
              <a:avLst/>
              <a:gdLst/>
              <a:ahLst/>
              <a:cxnLst>
                <a:cxn ang="0">
                  <a:pos x="54" y="50"/>
                </a:cxn>
                <a:cxn ang="0">
                  <a:pos x="6" y="54"/>
                </a:cxn>
                <a:cxn ang="0">
                  <a:pos x="28" y="0"/>
                </a:cxn>
                <a:cxn ang="0">
                  <a:pos x="22" y="2"/>
                </a:cxn>
                <a:cxn ang="0">
                  <a:pos x="0" y="56"/>
                </a:cxn>
                <a:cxn ang="0">
                  <a:pos x="52" y="54"/>
                </a:cxn>
                <a:cxn ang="0">
                  <a:pos x="52" y="88"/>
                </a:cxn>
                <a:cxn ang="0">
                  <a:pos x="314" y="312"/>
                </a:cxn>
                <a:cxn ang="0">
                  <a:pos x="316" y="310"/>
                </a:cxn>
                <a:cxn ang="0">
                  <a:pos x="54" y="86"/>
                </a:cxn>
                <a:cxn ang="0">
                  <a:pos x="54" y="50"/>
                </a:cxn>
              </a:cxnLst>
              <a:rect l="0" t="0" r="r" b="b"/>
              <a:pathLst>
                <a:path w="316" h="312">
                  <a:moveTo>
                    <a:pt x="54" y="50"/>
                  </a:moveTo>
                  <a:lnTo>
                    <a:pt x="6" y="54"/>
                  </a:lnTo>
                  <a:lnTo>
                    <a:pt x="28" y="0"/>
                  </a:lnTo>
                  <a:lnTo>
                    <a:pt x="22" y="2"/>
                  </a:lnTo>
                  <a:lnTo>
                    <a:pt x="0" y="56"/>
                  </a:lnTo>
                  <a:lnTo>
                    <a:pt x="52" y="54"/>
                  </a:lnTo>
                  <a:lnTo>
                    <a:pt x="52" y="88"/>
                  </a:lnTo>
                  <a:lnTo>
                    <a:pt x="314" y="312"/>
                  </a:lnTo>
                  <a:lnTo>
                    <a:pt x="316" y="310"/>
                  </a:lnTo>
                  <a:lnTo>
                    <a:pt x="54" y="86"/>
                  </a:lnTo>
                  <a:lnTo>
                    <a:pt x="54" y="5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22" name="Freeform 2943"/>
            <p:cNvSpPr>
              <a:spLocks/>
            </p:cNvSpPr>
            <p:nvPr/>
          </p:nvSpPr>
          <p:spPr bwMode="auto">
            <a:xfrm>
              <a:off x="6460946" y="2418451"/>
              <a:ext cx="15426" cy="5142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6" y="0"/>
                </a:cxn>
                <a:cxn ang="0">
                  <a:pos x="0" y="2"/>
                </a:cxn>
                <a:cxn ang="0">
                  <a:pos x="6" y="4"/>
                </a:cxn>
                <a:cxn ang="0">
                  <a:pos x="12" y="2"/>
                </a:cxn>
              </a:cxnLst>
              <a:rect l="0" t="0" r="r" b="b"/>
              <a:pathLst>
                <a:path w="12" h="4">
                  <a:moveTo>
                    <a:pt x="12" y="2"/>
                  </a:moveTo>
                  <a:lnTo>
                    <a:pt x="6" y="0"/>
                  </a:lnTo>
                  <a:lnTo>
                    <a:pt x="0" y="2"/>
                  </a:lnTo>
                  <a:lnTo>
                    <a:pt x="6" y="4"/>
                  </a:lnTo>
                  <a:lnTo>
                    <a:pt x="12" y="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23" name="Freeform 2944"/>
            <p:cNvSpPr>
              <a:spLocks/>
            </p:cNvSpPr>
            <p:nvPr/>
          </p:nvSpPr>
          <p:spPr bwMode="auto">
            <a:xfrm>
              <a:off x="6031591" y="2480155"/>
              <a:ext cx="10284" cy="7713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8" y="0"/>
                </a:cxn>
                <a:cxn ang="0">
                  <a:pos x="6" y="0"/>
                </a:cxn>
              </a:cxnLst>
              <a:rect l="0" t="0" r="r" b="b"/>
              <a:pathLst>
                <a:path w="8" h="6">
                  <a:moveTo>
                    <a:pt x="6" y="0"/>
                  </a:moveTo>
                  <a:lnTo>
                    <a:pt x="0" y="6"/>
                  </a:lnTo>
                  <a:lnTo>
                    <a:pt x="2" y="6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24" name="Freeform 2945"/>
            <p:cNvSpPr>
              <a:spLocks/>
            </p:cNvSpPr>
            <p:nvPr/>
          </p:nvSpPr>
          <p:spPr bwMode="auto">
            <a:xfrm>
              <a:off x="6034162" y="2421022"/>
              <a:ext cx="434498" cy="439639"/>
            </a:xfrm>
            <a:custGeom>
              <a:avLst/>
              <a:gdLst/>
              <a:ahLst/>
              <a:cxnLst>
                <a:cxn ang="0">
                  <a:pos x="258" y="342"/>
                </a:cxn>
                <a:cxn ang="0">
                  <a:pos x="258" y="340"/>
                </a:cxn>
                <a:cxn ang="0">
                  <a:pos x="262" y="340"/>
                </a:cxn>
                <a:cxn ang="0">
                  <a:pos x="196" y="46"/>
                </a:cxn>
                <a:cxn ang="0">
                  <a:pos x="338" y="2"/>
                </a:cxn>
                <a:cxn ang="0">
                  <a:pos x="332" y="0"/>
                </a:cxn>
                <a:cxn ang="0">
                  <a:pos x="194" y="42"/>
                </a:cxn>
                <a:cxn ang="0">
                  <a:pos x="6" y="46"/>
                </a:cxn>
                <a:cxn ang="0">
                  <a:pos x="0" y="52"/>
                </a:cxn>
                <a:cxn ang="0">
                  <a:pos x="190" y="46"/>
                </a:cxn>
                <a:cxn ang="0">
                  <a:pos x="258" y="342"/>
                </a:cxn>
              </a:cxnLst>
              <a:rect l="0" t="0" r="r" b="b"/>
              <a:pathLst>
                <a:path w="338" h="342">
                  <a:moveTo>
                    <a:pt x="258" y="342"/>
                  </a:moveTo>
                  <a:lnTo>
                    <a:pt x="258" y="340"/>
                  </a:lnTo>
                  <a:lnTo>
                    <a:pt x="262" y="340"/>
                  </a:lnTo>
                  <a:lnTo>
                    <a:pt x="196" y="46"/>
                  </a:lnTo>
                  <a:lnTo>
                    <a:pt x="338" y="2"/>
                  </a:lnTo>
                  <a:lnTo>
                    <a:pt x="332" y="0"/>
                  </a:lnTo>
                  <a:lnTo>
                    <a:pt x="194" y="42"/>
                  </a:lnTo>
                  <a:lnTo>
                    <a:pt x="6" y="46"/>
                  </a:lnTo>
                  <a:lnTo>
                    <a:pt x="0" y="52"/>
                  </a:lnTo>
                  <a:lnTo>
                    <a:pt x="190" y="46"/>
                  </a:lnTo>
                  <a:lnTo>
                    <a:pt x="258" y="3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25" name="Freeform 2946"/>
            <p:cNvSpPr>
              <a:spLocks/>
            </p:cNvSpPr>
            <p:nvPr/>
          </p:nvSpPr>
          <p:spPr bwMode="auto">
            <a:xfrm>
              <a:off x="6018736" y="2863233"/>
              <a:ext cx="357368" cy="300806"/>
            </a:xfrm>
            <a:custGeom>
              <a:avLst/>
              <a:gdLst/>
              <a:ahLst/>
              <a:cxnLst>
                <a:cxn ang="0">
                  <a:pos x="274" y="12"/>
                </a:cxn>
                <a:cxn ang="0">
                  <a:pos x="236" y="52"/>
                </a:cxn>
                <a:cxn ang="0">
                  <a:pos x="186" y="160"/>
                </a:cxn>
                <a:cxn ang="0">
                  <a:pos x="158" y="146"/>
                </a:cxn>
                <a:cxn ang="0">
                  <a:pos x="78" y="200"/>
                </a:cxn>
                <a:cxn ang="0">
                  <a:pos x="54" y="186"/>
                </a:cxn>
                <a:cxn ang="0">
                  <a:pos x="0" y="230"/>
                </a:cxn>
                <a:cxn ang="0">
                  <a:pos x="0" y="234"/>
                </a:cxn>
                <a:cxn ang="0">
                  <a:pos x="54" y="190"/>
                </a:cxn>
                <a:cxn ang="0">
                  <a:pos x="78" y="206"/>
                </a:cxn>
                <a:cxn ang="0">
                  <a:pos x="158" y="150"/>
                </a:cxn>
                <a:cxn ang="0">
                  <a:pos x="188" y="164"/>
                </a:cxn>
                <a:cxn ang="0">
                  <a:pos x="238" y="54"/>
                </a:cxn>
                <a:cxn ang="0">
                  <a:pos x="278" y="14"/>
                </a:cxn>
                <a:cxn ang="0">
                  <a:pos x="274" y="2"/>
                </a:cxn>
                <a:cxn ang="0">
                  <a:pos x="270" y="0"/>
                </a:cxn>
                <a:cxn ang="0">
                  <a:pos x="274" y="12"/>
                </a:cxn>
              </a:cxnLst>
              <a:rect l="0" t="0" r="r" b="b"/>
              <a:pathLst>
                <a:path w="278" h="234">
                  <a:moveTo>
                    <a:pt x="274" y="12"/>
                  </a:moveTo>
                  <a:lnTo>
                    <a:pt x="236" y="52"/>
                  </a:lnTo>
                  <a:lnTo>
                    <a:pt x="186" y="160"/>
                  </a:lnTo>
                  <a:lnTo>
                    <a:pt x="158" y="146"/>
                  </a:lnTo>
                  <a:lnTo>
                    <a:pt x="78" y="200"/>
                  </a:lnTo>
                  <a:lnTo>
                    <a:pt x="54" y="186"/>
                  </a:lnTo>
                  <a:lnTo>
                    <a:pt x="0" y="230"/>
                  </a:lnTo>
                  <a:lnTo>
                    <a:pt x="0" y="234"/>
                  </a:lnTo>
                  <a:lnTo>
                    <a:pt x="54" y="190"/>
                  </a:lnTo>
                  <a:lnTo>
                    <a:pt x="78" y="206"/>
                  </a:lnTo>
                  <a:lnTo>
                    <a:pt x="158" y="150"/>
                  </a:lnTo>
                  <a:lnTo>
                    <a:pt x="188" y="164"/>
                  </a:lnTo>
                  <a:lnTo>
                    <a:pt x="238" y="54"/>
                  </a:lnTo>
                  <a:lnTo>
                    <a:pt x="278" y="14"/>
                  </a:lnTo>
                  <a:lnTo>
                    <a:pt x="274" y="2"/>
                  </a:lnTo>
                  <a:lnTo>
                    <a:pt x="270" y="0"/>
                  </a:lnTo>
                  <a:lnTo>
                    <a:pt x="274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26" name="Freeform 2947"/>
            <p:cNvSpPr>
              <a:spLocks/>
            </p:cNvSpPr>
            <p:nvPr/>
          </p:nvSpPr>
          <p:spPr bwMode="auto">
            <a:xfrm>
              <a:off x="7167969" y="2603562"/>
              <a:ext cx="2571" cy="25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2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27" name="Freeform 2948"/>
            <p:cNvSpPr>
              <a:spLocks/>
            </p:cNvSpPr>
            <p:nvPr/>
          </p:nvSpPr>
          <p:spPr bwMode="auto">
            <a:xfrm>
              <a:off x="6365820" y="2860662"/>
              <a:ext cx="1286" cy="2571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28" name="Freeform 2949"/>
            <p:cNvSpPr>
              <a:spLocks/>
            </p:cNvSpPr>
            <p:nvPr/>
          </p:nvSpPr>
          <p:spPr bwMode="auto">
            <a:xfrm>
              <a:off x="6370962" y="2313040"/>
              <a:ext cx="431927" cy="686455"/>
            </a:xfrm>
            <a:custGeom>
              <a:avLst/>
              <a:gdLst/>
              <a:ahLst/>
              <a:cxnLst>
                <a:cxn ang="0">
                  <a:pos x="106" y="466"/>
                </a:cxn>
                <a:cxn ang="0">
                  <a:pos x="196" y="454"/>
                </a:cxn>
                <a:cxn ang="0">
                  <a:pos x="220" y="470"/>
                </a:cxn>
                <a:cxn ang="0">
                  <a:pos x="234" y="512"/>
                </a:cxn>
                <a:cxn ang="0">
                  <a:pos x="286" y="534"/>
                </a:cxn>
                <a:cxn ang="0">
                  <a:pos x="288" y="532"/>
                </a:cxn>
                <a:cxn ang="0">
                  <a:pos x="236" y="510"/>
                </a:cxn>
                <a:cxn ang="0">
                  <a:pos x="226" y="474"/>
                </a:cxn>
                <a:cxn ang="0">
                  <a:pos x="232" y="480"/>
                </a:cxn>
                <a:cxn ang="0">
                  <a:pos x="290" y="348"/>
                </a:cxn>
                <a:cxn ang="0">
                  <a:pos x="324" y="288"/>
                </a:cxn>
                <a:cxn ang="0">
                  <a:pos x="334" y="210"/>
                </a:cxn>
                <a:cxn ang="0">
                  <a:pos x="334" y="208"/>
                </a:cxn>
                <a:cxn ang="0">
                  <a:pos x="334" y="208"/>
                </a:cxn>
                <a:cxn ang="0">
                  <a:pos x="336" y="200"/>
                </a:cxn>
                <a:cxn ang="0">
                  <a:pos x="262" y="0"/>
                </a:cxn>
                <a:cxn ang="0">
                  <a:pos x="260" y="6"/>
                </a:cxn>
                <a:cxn ang="0">
                  <a:pos x="330" y="202"/>
                </a:cxn>
                <a:cxn ang="0">
                  <a:pos x="320" y="286"/>
                </a:cxn>
                <a:cxn ang="0">
                  <a:pos x="288" y="346"/>
                </a:cxn>
                <a:cxn ang="0">
                  <a:pos x="232" y="470"/>
                </a:cxn>
                <a:cxn ang="0">
                  <a:pos x="198" y="450"/>
                </a:cxn>
                <a:cxn ang="0">
                  <a:pos x="106" y="462"/>
                </a:cxn>
                <a:cxn ang="0">
                  <a:pos x="0" y="424"/>
                </a:cxn>
                <a:cxn ang="0">
                  <a:pos x="0" y="430"/>
                </a:cxn>
                <a:cxn ang="0">
                  <a:pos x="106" y="466"/>
                </a:cxn>
              </a:cxnLst>
              <a:rect l="0" t="0" r="r" b="b"/>
              <a:pathLst>
                <a:path w="336" h="534">
                  <a:moveTo>
                    <a:pt x="106" y="466"/>
                  </a:moveTo>
                  <a:lnTo>
                    <a:pt x="196" y="454"/>
                  </a:lnTo>
                  <a:lnTo>
                    <a:pt x="220" y="470"/>
                  </a:lnTo>
                  <a:lnTo>
                    <a:pt x="234" y="512"/>
                  </a:lnTo>
                  <a:lnTo>
                    <a:pt x="286" y="534"/>
                  </a:lnTo>
                  <a:lnTo>
                    <a:pt x="288" y="532"/>
                  </a:lnTo>
                  <a:lnTo>
                    <a:pt x="236" y="510"/>
                  </a:lnTo>
                  <a:lnTo>
                    <a:pt x="226" y="474"/>
                  </a:lnTo>
                  <a:lnTo>
                    <a:pt x="232" y="480"/>
                  </a:lnTo>
                  <a:lnTo>
                    <a:pt x="290" y="348"/>
                  </a:lnTo>
                  <a:lnTo>
                    <a:pt x="324" y="288"/>
                  </a:lnTo>
                  <a:lnTo>
                    <a:pt x="334" y="210"/>
                  </a:lnTo>
                  <a:lnTo>
                    <a:pt x="334" y="208"/>
                  </a:lnTo>
                  <a:lnTo>
                    <a:pt x="334" y="208"/>
                  </a:lnTo>
                  <a:lnTo>
                    <a:pt x="336" y="200"/>
                  </a:lnTo>
                  <a:lnTo>
                    <a:pt x="262" y="0"/>
                  </a:lnTo>
                  <a:lnTo>
                    <a:pt x="260" y="6"/>
                  </a:lnTo>
                  <a:lnTo>
                    <a:pt x="330" y="202"/>
                  </a:lnTo>
                  <a:lnTo>
                    <a:pt x="320" y="286"/>
                  </a:lnTo>
                  <a:lnTo>
                    <a:pt x="288" y="346"/>
                  </a:lnTo>
                  <a:lnTo>
                    <a:pt x="232" y="470"/>
                  </a:lnTo>
                  <a:lnTo>
                    <a:pt x="198" y="450"/>
                  </a:lnTo>
                  <a:lnTo>
                    <a:pt x="106" y="462"/>
                  </a:lnTo>
                  <a:lnTo>
                    <a:pt x="0" y="424"/>
                  </a:lnTo>
                  <a:lnTo>
                    <a:pt x="0" y="430"/>
                  </a:lnTo>
                  <a:lnTo>
                    <a:pt x="106" y="4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29" name="Freeform 2950"/>
            <p:cNvSpPr>
              <a:spLocks/>
            </p:cNvSpPr>
            <p:nvPr/>
          </p:nvSpPr>
          <p:spPr bwMode="auto">
            <a:xfrm>
              <a:off x="6743755" y="2608704"/>
              <a:ext cx="424214" cy="437068"/>
            </a:xfrm>
            <a:custGeom>
              <a:avLst/>
              <a:gdLst/>
              <a:ahLst/>
              <a:cxnLst>
                <a:cxn ang="0">
                  <a:pos x="328" y="0"/>
                </a:cxn>
                <a:cxn ang="0">
                  <a:pos x="312" y="22"/>
                </a:cxn>
                <a:cxn ang="0">
                  <a:pos x="272" y="22"/>
                </a:cxn>
                <a:cxn ang="0">
                  <a:pos x="230" y="84"/>
                </a:cxn>
                <a:cxn ang="0">
                  <a:pos x="202" y="154"/>
                </a:cxn>
                <a:cxn ang="0">
                  <a:pos x="172" y="130"/>
                </a:cxn>
                <a:cxn ang="0">
                  <a:pos x="142" y="294"/>
                </a:cxn>
                <a:cxn ang="0">
                  <a:pos x="72" y="336"/>
                </a:cxn>
                <a:cxn ang="0">
                  <a:pos x="0" y="304"/>
                </a:cxn>
                <a:cxn ang="0">
                  <a:pos x="0" y="304"/>
                </a:cxn>
                <a:cxn ang="0">
                  <a:pos x="0" y="306"/>
                </a:cxn>
                <a:cxn ang="0">
                  <a:pos x="72" y="340"/>
                </a:cxn>
                <a:cxn ang="0">
                  <a:pos x="144" y="296"/>
                </a:cxn>
                <a:cxn ang="0">
                  <a:pos x="174" y="132"/>
                </a:cxn>
                <a:cxn ang="0">
                  <a:pos x="202" y="158"/>
                </a:cxn>
                <a:cxn ang="0">
                  <a:pos x="232" y="84"/>
                </a:cxn>
                <a:cxn ang="0">
                  <a:pos x="274" y="26"/>
                </a:cxn>
                <a:cxn ang="0">
                  <a:pos x="312" y="26"/>
                </a:cxn>
                <a:cxn ang="0">
                  <a:pos x="330" y="0"/>
                </a:cxn>
                <a:cxn ang="0">
                  <a:pos x="330" y="0"/>
                </a:cxn>
                <a:cxn ang="0">
                  <a:pos x="328" y="0"/>
                </a:cxn>
              </a:cxnLst>
              <a:rect l="0" t="0" r="r" b="b"/>
              <a:pathLst>
                <a:path w="330" h="340">
                  <a:moveTo>
                    <a:pt x="328" y="0"/>
                  </a:moveTo>
                  <a:lnTo>
                    <a:pt x="312" y="22"/>
                  </a:lnTo>
                  <a:lnTo>
                    <a:pt x="272" y="22"/>
                  </a:lnTo>
                  <a:lnTo>
                    <a:pt x="230" y="84"/>
                  </a:lnTo>
                  <a:lnTo>
                    <a:pt x="202" y="154"/>
                  </a:lnTo>
                  <a:lnTo>
                    <a:pt x="172" y="130"/>
                  </a:lnTo>
                  <a:lnTo>
                    <a:pt x="142" y="294"/>
                  </a:lnTo>
                  <a:lnTo>
                    <a:pt x="72" y="336"/>
                  </a:lnTo>
                  <a:lnTo>
                    <a:pt x="0" y="304"/>
                  </a:lnTo>
                  <a:lnTo>
                    <a:pt x="0" y="304"/>
                  </a:lnTo>
                  <a:lnTo>
                    <a:pt x="0" y="306"/>
                  </a:lnTo>
                  <a:lnTo>
                    <a:pt x="72" y="340"/>
                  </a:lnTo>
                  <a:lnTo>
                    <a:pt x="144" y="296"/>
                  </a:lnTo>
                  <a:lnTo>
                    <a:pt x="174" y="132"/>
                  </a:lnTo>
                  <a:lnTo>
                    <a:pt x="202" y="158"/>
                  </a:lnTo>
                  <a:lnTo>
                    <a:pt x="232" y="84"/>
                  </a:lnTo>
                  <a:lnTo>
                    <a:pt x="274" y="26"/>
                  </a:lnTo>
                  <a:lnTo>
                    <a:pt x="312" y="26"/>
                  </a:lnTo>
                  <a:lnTo>
                    <a:pt x="330" y="0"/>
                  </a:lnTo>
                  <a:lnTo>
                    <a:pt x="330" y="0"/>
                  </a:lnTo>
                  <a:lnTo>
                    <a:pt x="32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30" name="Freeform 2951"/>
            <p:cNvSpPr>
              <a:spLocks/>
            </p:cNvSpPr>
            <p:nvPr/>
          </p:nvSpPr>
          <p:spPr bwMode="auto">
            <a:xfrm>
              <a:off x="6738613" y="2996924"/>
              <a:ext cx="5142" cy="5142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4" y="2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31" name="Freeform 2952"/>
            <p:cNvSpPr>
              <a:spLocks/>
            </p:cNvSpPr>
            <p:nvPr/>
          </p:nvSpPr>
          <p:spPr bwMode="auto">
            <a:xfrm>
              <a:off x="6365820" y="2858091"/>
              <a:ext cx="5142" cy="77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4"/>
                </a:cxn>
                <a:cxn ang="0">
                  <a:pos x="4" y="6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4" h="6">
                  <a:moveTo>
                    <a:pt x="0" y="2"/>
                  </a:moveTo>
                  <a:lnTo>
                    <a:pt x="0" y="4"/>
                  </a:lnTo>
                  <a:lnTo>
                    <a:pt x="4" y="6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32" name="Freeform 2953"/>
            <p:cNvSpPr>
              <a:spLocks/>
            </p:cNvSpPr>
            <p:nvPr/>
          </p:nvSpPr>
          <p:spPr bwMode="auto">
            <a:xfrm>
              <a:off x="7497056" y="2724399"/>
              <a:ext cx="5142" cy="7713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4" y="6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33" name="Freeform 2954"/>
            <p:cNvSpPr>
              <a:spLocks/>
            </p:cNvSpPr>
            <p:nvPr/>
          </p:nvSpPr>
          <p:spPr bwMode="auto">
            <a:xfrm>
              <a:off x="7167969" y="2606133"/>
              <a:ext cx="331658" cy="151688"/>
            </a:xfrm>
            <a:custGeom>
              <a:avLst/>
              <a:gdLst/>
              <a:ahLst/>
              <a:cxnLst>
                <a:cxn ang="0">
                  <a:pos x="54" y="106"/>
                </a:cxn>
                <a:cxn ang="0">
                  <a:pos x="64" y="26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60" y="28"/>
                </a:cxn>
                <a:cxn ang="0">
                  <a:pos x="50" y="108"/>
                </a:cxn>
                <a:cxn ang="0">
                  <a:pos x="172" y="118"/>
                </a:cxn>
                <a:cxn ang="0">
                  <a:pos x="256" y="98"/>
                </a:cxn>
                <a:cxn ang="0">
                  <a:pos x="258" y="94"/>
                </a:cxn>
                <a:cxn ang="0">
                  <a:pos x="176" y="116"/>
                </a:cxn>
                <a:cxn ang="0">
                  <a:pos x="54" y="106"/>
                </a:cxn>
              </a:cxnLst>
              <a:rect l="0" t="0" r="r" b="b"/>
              <a:pathLst>
                <a:path w="258" h="118">
                  <a:moveTo>
                    <a:pt x="54" y="106"/>
                  </a:moveTo>
                  <a:lnTo>
                    <a:pt x="64" y="26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60" y="28"/>
                  </a:lnTo>
                  <a:lnTo>
                    <a:pt x="50" y="108"/>
                  </a:lnTo>
                  <a:lnTo>
                    <a:pt x="172" y="118"/>
                  </a:lnTo>
                  <a:lnTo>
                    <a:pt x="256" y="98"/>
                  </a:lnTo>
                  <a:lnTo>
                    <a:pt x="258" y="94"/>
                  </a:lnTo>
                  <a:lnTo>
                    <a:pt x="176" y="116"/>
                  </a:lnTo>
                  <a:lnTo>
                    <a:pt x="54" y="10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34" name="Freeform 2955"/>
            <p:cNvSpPr>
              <a:spLocks/>
            </p:cNvSpPr>
            <p:nvPr/>
          </p:nvSpPr>
          <p:spPr bwMode="auto">
            <a:xfrm>
              <a:off x="6800317" y="2575282"/>
              <a:ext cx="367652" cy="92556"/>
            </a:xfrm>
            <a:custGeom>
              <a:avLst/>
              <a:gdLst/>
              <a:ahLst/>
              <a:cxnLst>
                <a:cxn ang="0">
                  <a:pos x="18" y="56"/>
                </a:cxn>
                <a:cxn ang="0">
                  <a:pos x="106" y="26"/>
                </a:cxn>
                <a:cxn ang="0">
                  <a:pos x="132" y="72"/>
                </a:cxn>
                <a:cxn ang="0">
                  <a:pos x="238" y="16"/>
                </a:cxn>
                <a:cxn ang="0">
                  <a:pos x="284" y="26"/>
                </a:cxn>
                <a:cxn ang="0">
                  <a:pos x="286" y="24"/>
                </a:cxn>
                <a:cxn ang="0">
                  <a:pos x="234" y="12"/>
                </a:cxn>
                <a:cxn ang="0">
                  <a:pos x="132" y="68"/>
                </a:cxn>
                <a:cxn ang="0">
                  <a:pos x="108" y="26"/>
                </a:cxn>
                <a:cxn ang="0">
                  <a:pos x="108" y="26"/>
                </a:cxn>
                <a:cxn ang="0">
                  <a:pos x="106" y="24"/>
                </a:cxn>
                <a:cxn ang="0">
                  <a:pos x="20" y="50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18" y="56"/>
                </a:cxn>
              </a:cxnLst>
              <a:rect l="0" t="0" r="r" b="b"/>
              <a:pathLst>
                <a:path w="286" h="72">
                  <a:moveTo>
                    <a:pt x="18" y="56"/>
                  </a:moveTo>
                  <a:lnTo>
                    <a:pt x="106" y="26"/>
                  </a:lnTo>
                  <a:lnTo>
                    <a:pt x="132" y="72"/>
                  </a:lnTo>
                  <a:lnTo>
                    <a:pt x="238" y="16"/>
                  </a:lnTo>
                  <a:lnTo>
                    <a:pt x="284" y="26"/>
                  </a:lnTo>
                  <a:lnTo>
                    <a:pt x="286" y="24"/>
                  </a:lnTo>
                  <a:lnTo>
                    <a:pt x="234" y="12"/>
                  </a:lnTo>
                  <a:lnTo>
                    <a:pt x="132" y="68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06" y="24"/>
                  </a:lnTo>
                  <a:lnTo>
                    <a:pt x="20" y="5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8" y="5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35" name="Freeform 2956"/>
            <p:cNvSpPr>
              <a:spLocks/>
            </p:cNvSpPr>
            <p:nvPr/>
          </p:nvSpPr>
          <p:spPr bwMode="auto">
            <a:xfrm>
              <a:off x="7165398" y="2606133"/>
              <a:ext cx="5142" cy="2571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2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36" name="Rectangle 2957"/>
            <p:cNvSpPr>
              <a:spLocks noChangeArrowheads="1"/>
            </p:cNvSpPr>
            <p:nvPr/>
          </p:nvSpPr>
          <p:spPr bwMode="auto">
            <a:xfrm>
              <a:off x="6800317" y="2580423"/>
              <a:ext cx="1286" cy="2571"/>
            </a:xfrm>
            <a:prstGeom prst="rect">
              <a:avLst/>
            </a:prstGeom>
            <a:grpFill/>
            <a:ln w="127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37" name="Freeform 2958"/>
            <p:cNvSpPr>
              <a:spLocks/>
            </p:cNvSpPr>
            <p:nvPr/>
          </p:nvSpPr>
          <p:spPr bwMode="auto">
            <a:xfrm>
              <a:off x="6792604" y="2122787"/>
              <a:ext cx="629893" cy="347084"/>
            </a:xfrm>
            <a:custGeom>
              <a:avLst/>
              <a:gdLst/>
              <a:ahLst/>
              <a:cxnLst>
                <a:cxn ang="0">
                  <a:pos x="462" y="258"/>
                </a:cxn>
                <a:cxn ang="0">
                  <a:pos x="490" y="190"/>
                </a:cxn>
                <a:cxn ang="0">
                  <a:pos x="452" y="138"/>
                </a:cxn>
                <a:cxn ang="0">
                  <a:pos x="462" y="68"/>
                </a:cxn>
                <a:cxn ang="0">
                  <a:pos x="382" y="0"/>
                </a:cxn>
                <a:cxn ang="0">
                  <a:pos x="18" y="120"/>
                </a:cxn>
                <a:cxn ang="0">
                  <a:pos x="2" y="74"/>
                </a:cxn>
                <a:cxn ang="0">
                  <a:pos x="0" y="76"/>
                </a:cxn>
                <a:cxn ang="0">
                  <a:pos x="16" y="124"/>
                </a:cxn>
                <a:cxn ang="0">
                  <a:pos x="382" y="4"/>
                </a:cxn>
                <a:cxn ang="0">
                  <a:pos x="458" y="70"/>
                </a:cxn>
                <a:cxn ang="0">
                  <a:pos x="448" y="138"/>
                </a:cxn>
                <a:cxn ang="0">
                  <a:pos x="488" y="190"/>
                </a:cxn>
                <a:cxn ang="0">
                  <a:pos x="458" y="256"/>
                </a:cxn>
                <a:cxn ang="0">
                  <a:pos x="428" y="266"/>
                </a:cxn>
                <a:cxn ang="0">
                  <a:pos x="430" y="270"/>
                </a:cxn>
                <a:cxn ang="0">
                  <a:pos x="462" y="258"/>
                </a:cxn>
              </a:cxnLst>
              <a:rect l="0" t="0" r="r" b="b"/>
              <a:pathLst>
                <a:path w="490" h="270">
                  <a:moveTo>
                    <a:pt x="462" y="258"/>
                  </a:moveTo>
                  <a:lnTo>
                    <a:pt x="490" y="190"/>
                  </a:lnTo>
                  <a:lnTo>
                    <a:pt x="452" y="138"/>
                  </a:lnTo>
                  <a:lnTo>
                    <a:pt x="462" y="68"/>
                  </a:lnTo>
                  <a:lnTo>
                    <a:pt x="382" y="0"/>
                  </a:lnTo>
                  <a:lnTo>
                    <a:pt x="18" y="120"/>
                  </a:lnTo>
                  <a:lnTo>
                    <a:pt x="2" y="74"/>
                  </a:lnTo>
                  <a:lnTo>
                    <a:pt x="0" y="76"/>
                  </a:lnTo>
                  <a:lnTo>
                    <a:pt x="16" y="124"/>
                  </a:lnTo>
                  <a:lnTo>
                    <a:pt x="382" y="4"/>
                  </a:lnTo>
                  <a:lnTo>
                    <a:pt x="458" y="70"/>
                  </a:lnTo>
                  <a:lnTo>
                    <a:pt x="448" y="138"/>
                  </a:lnTo>
                  <a:lnTo>
                    <a:pt x="488" y="190"/>
                  </a:lnTo>
                  <a:lnTo>
                    <a:pt x="458" y="256"/>
                  </a:lnTo>
                  <a:lnTo>
                    <a:pt x="428" y="266"/>
                  </a:lnTo>
                  <a:lnTo>
                    <a:pt x="430" y="270"/>
                  </a:lnTo>
                  <a:lnTo>
                    <a:pt x="462" y="25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38" name="Freeform 2959"/>
            <p:cNvSpPr>
              <a:spLocks/>
            </p:cNvSpPr>
            <p:nvPr/>
          </p:nvSpPr>
          <p:spPr bwMode="auto">
            <a:xfrm>
              <a:off x="6934009" y="2464729"/>
              <a:ext cx="411359" cy="143975"/>
            </a:xfrm>
            <a:custGeom>
              <a:avLst/>
              <a:gdLst/>
              <a:ahLst/>
              <a:cxnLst>
                <a:cxn ang="0">
                  <a:pos x="4" y="112"/>
                </a:cxn>
                <a:cxn ang="0">
                  <a:pos x="320" y="4"/>
                </a:cxn>
                <a:cxn ang="0">
                  <a:pos x="318" y="0"/>
                </a:cxn>
                <a:cxn ang="0">
                  <a:pos x="0" y="110"/>
                </a:cxn>
                <a:cxn ang="0">
                  <a:pos x="2" y="110"/>
                </a:cxn>
                <a:cxn ang="0">
                  <a:pos x="2" y="110"/>
                </a:cxn>
                <a:cxn ang="0">
                  <a:pos x="4" y="112"/>
                </a:cxn>
              </a:cxnLst>
              <a:rect l="0" t="0" r="r" b="b"/>
              <a:pathLst>
                <a:path w="320" h="112">
                  <a:moveTo>
                    <a:pt x="4" y="112"/>
                  </a:moveTo>
                  <a:lnTo>
                    <a:pt x="320" y="4"/>
                  </a:lnTo>
                  <a:lnTo>
                    <a:pt x="318" y="0"/>
                  </a:lnTo>
                  <a:lnTo>
                    <a:pt x="0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4" y="1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39" name="Freeform 2960"/>
            <p:cNvSpPr>
              <a:spLocks/>
            </p:cNvSpPr>
            <p:nvPr/>
          </p:nvSpPr>
          <p:spPr bwMode="auto">
            <a:xfrm>
              <a:off x="6936580" y="2606133"/>
              <a:ext cx="2571" cy="2571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2" y="2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40" name="Rectangle 2961"/>
            <p:cNvSpPr>
              <a:spLocks noChangeArrowheads="1"/>
            </p:cNvSpPr>
            <p:nvPr/>
          </p:nvSpPr>
          <p:spPr bwMode="auto">
            <a:xfrm>
              <a:off x="7507340" y="2639556"/>
              <a:ext cx="2571" cy="2571"/>
            </a:xfrm>
            <a:prstGeom prst="rect">
              <a:avLst/>
            </a:prstGeom>
            <a:grpFill/>
            <a:ln w="127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41" name="Rectangle 2962"/>
            <p:cNvSpPr>
              <a:spLocks noChangeArrowheads="1"/>
            </p:cNvSpPr>
            <p:nvPr/>
          </p:nvSpPr>
          <p:spPr bwMode="auto">
            <a:xfrm>
              <a:off x="7342796" y="2464729"/>
              <a:ext cx="1286" cy="1286"/>
            </a:xfrm>
            <a:prstGeom prst="rect">
              <a:avLst/>
            </a:prstGeom>
            <a:grpFill/>
            <a:ln w="127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42" name="Freeform 2963"/>
            <p:cNvSpPr>
              <a:spLocks/>
            </p:cNvSpPr>
            <p:nvPr/>
          </p:nvSpPr>
          <p:spPr bwMode="auto">
            <a:xfrm>
              <a:off x="7345367" y="2469871"/>
              <a:ext cx="161972" cy="208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58" y="162"/>
                </a:cxn>
                <a:cxn ang="0">
                  <a:pos x="126" y="134"/>
                </a:cxn>
                <a:cxn ang="0">
                  <a:pos x="126" y="132"/>
                </a:cxn>
                <a:cxn ang="0">
                  <a:pos x="62" y="158"/>
                </a:cxn>
                <a:cxn ang="0">
                  <a:pos x="0" y="0"/>
                </a:cxn>
              </a:cxnLst>
              <a:rect l="0" t="0" r="r" b="b"/>
              <a:pathLst>
                <a:path w="126" h="162">
                  <a:moveTo>
                    <a:pt x="0" y="0"/>
                  </a:moveTo>
                  <a:lnTo>
                    <a:pt x="0" y="0"/>
                  </a:lnTo>
                  <a:lnTo>
                    <a:pt x="58" y="162"/>
                  </a:lnTo>
                  <a:lnTo>
                    <a:pt x="126" y="134"/>
                  </a:lnTo>
                  <a:lnTo>
                    <a:pt x="126" y="132"/>
                  </a:lnTo>
                  <a:lnTo>
                    <a:pt x="62" y="15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43" name="Freeform 2964"/>
            <p:cNvSpPr>
              <a:spLocks/>
            </p:cNvSpPr>
            <p:nvPr/>
          </p:nvSpPr>
          <p:spPr bwMode="auto">
            <a:xfrm>
              <a:off x="7342796" y="2464729"/>
              <a:ext cx="2571" cy="5142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4"/>
                </a:cxn>
                <a:cxn ang="0">
                  <a:pos x="2" y="4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44" name="Freeform 2965"/>
            <p:cNvSpPr>
              <a:spLocks/>
            </p:cNvSpPr>
            <p:nvPr/>
          </p:nvSpPr>
          <p:spPr bwMode="auto">
            <a:xfrm>
              <a:off x="7774723" y="1999380"/>
              <a:ext cx="2571" cy="5142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4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45" name="Freeform 2966"/>
            <p:cNvSpPr>
              <a:spLocks/>
            </p:cNvSpPr>
            <p:nvPr/>
          </p:nvSpPr>
          <p:spPr bwMode="auto">
            <a:xfrm>
              <a:off x="7695022" y="2148497"/>
              <a:ext cx="5142" cy="7713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2" y="6"/>
                </a:cxn>
                <a:cxn ang="0">
                  <a:pos x="4" y="4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2" y="6"/>
                </a:cxn>
              </a:cxnLst>
              <a:rect l="0" t="0" r="r" b="b"/>
              <a:pathLst>
                <a:path w="4" h="6">
                  <a:moveTo>
                    <a:pt x="2" y="6"/>
                  </a:moveTo>
                  <a:lnTo>
                    <a:pt x="2" y="6"/>
                  </a:lnTo>
                  <a:lnTo>
                    <a:pt x="4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46" name="Freeform 2967"/>
            <p:cNvSpPr>
              <a:spLocks/>
            </p:cNvSpPr>
            <p:nvPr/>
          </p:nvSpPr>
          <p:spPr bwMode="auto">
            <a:xfrm>
              <a:off x="7484201" y="2035373"/>
              <a:ext cx="79701" cy="1748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84"/>
                </a:cxn>
                <a:cxn ang="0">
                  <a:pos x="62" y="136"/>
                </a:cxn>
                <a:cxn ang="0">
                  <a:pos x="12" y="82"/>
                </a:cxn>
                <a:cxn ang="0">
                  <a:pos x="0" y="0"/>
                </a:cxn>
              </a:cxnLst>
              <a:rect l="0" t="0" r="r" b="b"/>
              <a:pathLst>
                <a:path w="62" h="136">
                  <a:moveTo>
                    <a:pt x="0" y="0"/>
                  </a:moveTo>
                  <a:lnTo>
                    <a:pt x="10" y="84"/>
                  </a:lnTo>
                  <a:lnTo>
                    <a:pt x="62" y="136"/>
                  </a:lnTo>
                  <a:lnTo>
                    <a:pt x="12" y="8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47" name="Freeform 2968"/>
            <p:cNvSpPr>
              <a:spLocks/>
            </p:cNvSpPr>
            <p:nvPr/>
          </p:nvSpPr>
          <p:spPr bwMode="auto">
            <a:xfrm>
              <a:off x="7353080" y="1575166"/>
              <a:ext cx="131121" cy="460207"/>
            </a:xfrm>
            <a:custGeom>
              <a:avLst/>
              <a:gdLst/>
              <a:ahLst/>
              <a:cxnLst>
                <a:cxn ang="0">
                  <a:pos x="40" y="13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38" y="132"/>
                </a:cxn>
                <a:cxn ang="0">
                  <a:pos x="102" y="358"/>
                </a:cxn>
                <a:cxn ang="0">
                  <a:pos x="80" y="276"/>
                </a:cxn>
                <a:cxn ang="0">
                  <a:pos x="40" y="132"/>
                </a:cxn>
              </a:cxnLst>
              <a:rect l="0" t="0" r="r" b="b"/>
              <a:pathLst>
                <a:path w="102" h="358">
                  <a:moveTo>
                    <a:pt x="40" y="13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38" y="132"/>
                  </a:lnTo>
                  <a:lnTo>
                    <a:pt x="102" y="358"/>
                  </a:lnTo>
                  <a:lnTo>
                    <a:pt x="80" y="276"/>
                  </a:lnTo>
                  <a:lnTo>
                    <a:pt x="40" y="13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48" name="Freeform 2969"/>
            <p:cNvSpPr>
              <a:spLocks/>
            </p:cNvSpPr>
            <p:nvPr/>
          </p:nvSpPr>
          <p:spPr bwMode="auto">
            <a:xfrm>
              <a:off x="7659028" y="1945389"/>
              <a:ext cx="115695" cy="208250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8" y="162"/>
                </a:cxn>
                <a:cxn ang="0">
                  <a:pos x="30" y="158"/>
                </a:cxn>
                <a:cxn ang="0">
                  <a:pos x="4" y="20"/>
                </a:cxn>
                <a:cxn ang="0">
                  <a:pos x="54" y="2"/>
                </a:cxn>
                <a:cxn ang="0">
                  <a:pos x="90" y="42"/>
                </a:cxn>
                <a:cxn ang="0">
                  <a:pos x="90" y="42"/>
                </a:cxn>
                <a:cxn ang="0">
                  <a:pos x="54" y="0"/>
                </a:cxn>
                <a:cxn ang="0">
                  <a:pos x="0" y="20"/>
                </a:cxn>
              </a:cxnLst>
              <a:rect l="0" t="0" r="r" b="b"/>
              <a:pathLst>
                <a:path w="90" h="162">
                  <a:moveTo>
                    <a:pt x="0" y="20"/>
                  </a:moveTo>
                  <a:lnTo>
                    <a:pt x="28" y="162"/>
                  </a:lnTo>
                  <a:lnTo>
                    <a:pt x="30" y="158"/>
                  </a:lnTo>
                  <a:lnTo>
                    <a:pt x="4" y="20"/>
                  </a:lnTo>
                  <a:lnTo>
                    <a:pt x="54" y="2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54" y="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49" name="Rectangle 2970"/>
            <p:cNvSpPr>
              <a:spLocks noChangeArrowheads="1"/>
            </p:cNvSpPr>
            <p:nvPr/>
          </p:nvSpPr>
          <p:spPr bwMode="auto">
            <a:xfrm>
              <a:off x="7697593" y="2156210"/>
              <a:ext cx="1286" cy="1286"/>
            </a:xfrm>
            <a:prstGeom prst="rect">
              <a:avLst/>
            </a:prstGeom>
            <a:grpFill/>
            <a:ln w="12700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50" name="Freeform 2971"/>
            <p:cNvSpPr>
              <a:spLocks/>
            </p:cNvSpPr>
            <p:nvPr/>
          </p:nvSpPr>
          <p:spPr bwMode="auto">
            <a:xfrm>
              <a:off x="7525337" y="1472326"/>
              <a:ext cx="213392" cy="31880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126" y="220"/>
                </a:cxn>
                <a:cxn ang="0">
                  <a:pos x="166" y="248"/>
                </a:cxn>
                <a:cxn ang="0">
                  <a:pos x="166" y="246"/>
                </a:cxn>
                <a:cxn ang="0">
                  <a:pos x="126" y="218"/>
                </a:cxn>
                <a:cxn ang="0">
                  <a:pos x="0" y="0"/>
                </a:cxn>
              </a:cxnLst>
              <a:rect l="0" t="0" r="r" b="b"/>
              <a:pathLst>
                <a:path w="166" h="248">
                  <a:moveTo>
                    <a:pt x="0" y="0"/>
                  </a:moveTo>
                  <a:lnTo>
                    <a:pt x="0" y="2"/>
                  </a:lnTo>
                  <a:lnTo>
                    <a:pt x="126" y="220"/>
                  </a:lnTo>
                  <a:lnTo>
                    <a:pt x="166" y="248"/>
                  </a:lnTo>
                  <a:lnTo>
                    <a:pt x="166" y="246"/>
                  </a:lnTo>
                  <a:lnTo>
                    <a:pt x="126" y="21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51" name="Freeform 2972"/>
            <p:cNvSpPr>
              <a:spLocks/>
            </p:cNvSpPr>
            <p:nvPr/>
          </p:nvSpPr>
          <p:spPr bwMode="auto">
            <a:xfrm>
              <a:off x="2802426" y="1338635"/>
              <a:ext cx="82272" cy="439639"/>
            </a:xfrm>
            <a:custGeom>
              <a:avLst/>
              <a:gdLst/>
              <a:ahLst/>
              <a:cxnLst>
                <a:cxn ang="0">
                  <a:pos x="0" y="342"/>
                </a:cxn>
                <a:cxn ang="0">
                  <a:pos x="64" y="0"/>
                </a:cxn>
                <a:cxn ang="0">
                  <a:pos x="60" y="0"/>
                </a:cxn>
                <a:cxn ang="0">
                  <a:pos x="0" y="342"/>
                </a:cxn>
              </a:cxnLst>
              <a:rect l="0" t="0" r="r" b="b"/>
              <a:pathLst>
                <a:path w="64" h="342">
                  <a:moveTo>
                    <a:pt x="0" y="342"/>
                  </a:moveTo>
                  <a:lnTo>
                    <a:pt x="64" y="0"/>
                  </a:lnTo>
                  <a:lnTo>
                    <a:pt x="60" y="0"/>
                  </a:lnTo>
                  <a:lnTo>
                    <a:pt x="0" y="3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52" name="Freeform 2973"/>
            <p:cNvSpPr>
              <a:spLocks/>
            </p:cNvSpPr>
            <p:nvPr/>
          </p:nvSpPr>
          <p:spPr bwMode="auto">
            <a:xfrm>
              <a:off x="1964283" y="1611160"/>
              <a:ext cx="876708" cy="835572"/>
            </a:xfrm>
            <a:custGeom>
              <a:avLst/>
              <a:gdLst/>
              <a:ahLst/>
              <a:cxnLst>
                <a:cxn ang="0">
                  <a:pos x="528" y="128"/>
                </a:cxn>
                <a:cxn ang="0">
                  <a:pos x="412" y="144"/>
                </a:cxn>
                <a:cxn ang="0">
                  <a:pos x="232" y="112"/>
                </a:cxn>
                <a:cxn ang="0">
                  <a:pos x="224" y="26"/>
                </a:cxn>
                <a:cxn ang="0">
                  <a:pos x="128" y="0"/>
                </a:cxn>
                <a:cxn ang="0">
                  <a:pos x="128" y="20"/>
                </a:cxn>
                <a:cxn ang="0">
                  <a:pos x="0" y="410"/>
                </a:cxn>
                <a:cxn ang="0">
                  <a:pos x="6" y="510"/>
                </a:cxn>
                <a:cxn ang="0">
                  <a:pos x="344" y="602"/>
                </a:cxn>
                <a:cxn ang="0">
                  <a:pos x="572" y="650"/>
                </a:cxn>
                <a:cxn ang="0">
                  <a:pos x="622" y="386"/>
                </a:cxn>
                <a:cxn ang="0">
                  <a:pos x="614" y="360"/>
                </a:cxn>
                <a:cxn ang="0">
                  <a:pos x="682" y="224"/>
                </a:cxn>
                <a:cxn ang="0">
                  <a:pos x="662" y="166"/>
                </a:cxn>
                <a:cxn ang="0">
                  <a:pos x="528" y="128"/>
                </a:cxn>
              </a:cxnLst>
              <a:rect l="0" t="0" r="r" b="b"/>
              <a:pathLst>
                <a:path w="682" h="650">
                  <a:moveTo>
                    <a:pt x="528" y="128"/>
                  </a:moveTo>
                  <a:lnTo>
                    <a:pt x="412" y="144"/>
                  </a:lnTo>
                  <a:lnTo>
                    <a:pt x="232" y="112"/>
                  </a:lnTo>
                  <a:lnTo>
                    <a:pt x="224" y="26"/>
                  </a:lnTo>
                  <a:lnTo>
                    <a:pt x="128" y="0"/>
                  </a:lnTo>
                  <a:lnTo>
                    <a:pt x="128" y="20"/>
                  </a:lnTo>
                  <a:lnTo>
                    <a:pt x="0" y="410"/>
                  </a:lnTo>
                  <a:lnTo>
                    <a:pt x="6" y="510"/>
                  </a:lnTo>
                  <a:lnTo>
                    <a:pt x="344" y="602"/>
                  </a:lnTo>
                  <a:lnTo>
                    <a:pt x="572" y="650"/>
                  </a:lnTo>
                  <a:lnTo>
                    <a:pt x="622" y="386"/>
                  </a:lnTo>
                  <a:lnTo>
                    <a:pt x="614" y="360"/>
                  </a:lnTo>
                  <a:lnTo>
                    <a:pt x="682" y="224"/>
                  </a:lnTo>
                  <a:lnTo>
                    <a:pt x="662" y="166"/>
                  </a:lnTo>
                  <a:lnTo>
                    <a:pt x="528" y="12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53" name="Freeform 2974"/>
            <p:cNvSpPr>
              <a:spLocks/>
            </p:cNvSpPr>
            <p:nvPr/>
          </p:nvSpPr>
          <p:spPr bwMode="auto">
            <a:xfrm>
              <a:off x="2128826" y="1186946"/>
              <a:ext cx="755871" cy="624751"/>
            </a:xfrm>
            <a:custGeom>
              <a:avLst/>
              <a:gdLst/>
              <a:ahLst/>
              <a:cxnLst>
                <a:cxn ang="0">
                  <a:pos x="198" y="12"/>
                </a:cxn>
                <a:cxn ang="0">
                  <a:pos x="118" y="92"/>
                </a:cxn>
                <a:cxn ang="0">
                  <a:pos x="0" y="0"/>
                </a:cxn>
                <a:cxn ang="0">
                  <a:pos x="0" y="324"/>
                </a:cxn>
                <a:cxn ang="0">
                  <a:pos x="100" y="352"/>
                </a:cxn>
                <a:cxn ang="0">
                  <a:pos x="110" y="436"/>
                </a:cxn>
                <a:cxn ang="0">
                  <a:pos x="284" y="468"/>
                </a:cxn>
                <a:cxn ang="0">
                  <a:pos x="400" y="452"/>
                </a:cxn>
                <a:cxn ang="0">
                  <a:pos x="532" y="486"/>
                </a:cxn>
                <a:cxn ang="0">
                  <a:pos x="524" y="460"/>
                </a:cxn>
                <a:cxn ang="0">
                  <a:pos x="584" y="118"/>
                </a:cxn>
                <a:cxn ang="0">
                  <a:pos x="588" y="118"/>
                </a:cxn>
                <a:cxn ang="0">
                  <a:pos x="588" y="116"/>
                </a:cxn>
                <a:cxn ang="0">
                  <a:pos x="198" y="12"/>
                </a:cxn>
              </a:cxnLst>
              <a:rect l="0" t="0" r="r" b="b"/>
              <a:pathLst>
                <a:path w="588" h="486">
                  <a:moveTo>
                    <a:pt x="198" y="12"/>
                  </a:moveTo>
                  <a:lnTo>
                    <a:pt x="118" y="92"/>
                  </a:lnTo>
                  <a:lnTo>
                    <a:pt x="0" y="0"/>
                  </a:lnTo>
                  <a:lnTo>
                    <a:pt x="0" y="324"/>
                  </a:lnTo>
                  <a:lnTo>
                    <a:pt x="100" y="352"/>
                  </a:lnTo>
                  <a:lnTo>
                    <a:pt x="110" y="436"/>
                  </a:lnTo>
                  <a:lnTo>
                    <a:pt x="284" y="468"/>
                  </a:lnTo>
                  <a:lnTo>
                    <a:pt x="400" y="452"/>
                  </a:lnTo>
                  <a:lnTo>
                    <a:pt x="532" y="486"/>
                  </a:lnTo>
                  <a:lnTo>
                    <a:pt x="524" y="460"/>
                  </a:lnTo>
                  <a:lnTo>
                    <a:pt x="584" y="118"/>
                  </a:lnTo>
                  <a:lnTo>
                    <a:pt x="588" y="118"/>
                  </a:lnTo>
                  <a:lnTo>
                    <a:pt x="588" y="116"/>
                  </a:lnTo>
                  <a:lnTo>
                    <a:pt x="198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54" name="Freeform 2975"/>
            <p:cNvSpPr>
              <a:spLocks/>
            </p:cNvSpPr>
            <p:nvPr/>
          </p:nvSpPr>
          <p:spPr bwMode="auto">
            <a:xfrm>
              <a:off x="2802426" y="1778274"/>
              <a:ext cx="10284" cy="33423"/>
            </a:xfrm>
            <a:custGeom>
              <a:avLst/>
              <a:gdLst/>
              <a:ahLst/>
              <a:cxnLst>
                <a:cxn ang="0">
                  <a:pos x="8" y="26"/>
                </a:cxn>
                <a:cxn ang="0">
                  <a:pos x="0" y="0"/>
                </a:cxn>
                <a:cxn ang="0">
                  <a:pos x="8" y="26"/>
                </a:cxn>
                <a:cxn ang="0">
                  <a:pos x="8" y="26"/>
                </a:cxn>
              </a:cxnLst>
              <a:rect l="0" t="0" r="r" b="b"/>
              <a:pathLst>
                <a:path w="8" h="26">
                  <a:moveTo>
                    <a:pt x="8" y="26"/>
                  </a:moveTo>
                  <a:lnTo>
                    <a:pt x="0" y="0"/>
                  </a:lnTo>
                  <a:lnTo>
                    <a:pt x="8" y="26"/>
                  </a:lnTo>
                  <a:lnTo>
                    <a:pt x="8" y="2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55" name="Freeform 2979"/>
            <p:cNvSpPr>
              <a:spLocks/>
            </p:cNvSpPr>
            <p:nvPr/>
          </p:nvSpPr>
          <p:spPr bwMode="auto">
            <a:xfrm>
              <a:off x="3036386" y="1783416"/>
              <a:ext cx="233960" cy="380507"/>
            </a:xfrm>
            <a:custGeom>
              <a:avLst/>
              <a:gdLst/>
              <a:ahLst/>
              <a:cxnLst>
                <a:cxn ang="0">
                  <a:pos x="50" y="126"/>
                </a:cxn>
                <a:cxn ang="0">
                  <a:pos x="40" y="188"/>
                </a:cxn>
                <a:cxn ang="0">
                  <a:pos x="112" y="296"/>
                </a:cxn>
                <a:cxn ang="0">
                  <a:pos x="182" y="284"/>
                </a:cxn>
                <a:cxn ang="0">
                  <a:pos x="118" y="292"/>
                </a:cxn>
                <a:cxn ang="0">
                  <a:pos x="48" y="188"/>
                </a:cxn>
                <a:cxn ang="0">
                  <a:pos x="56" y="118"/>
                </a:cxn>
                <a:cxn ang="0">
                  <a:pos x="8" y="130"/>
                </a:cxn>
                <a:cxn ang="0">
                  <a:pos x="38" y="0"/>
                </a:cxn>
                <a:cxn ang="0">
                  <a:pos x="0" y="138"/>
                </a:cxn>
                <a:cxn ang="0">
                  <a:pos x="50" y="126"/>
                </a:cxn>
              </a:cxnLst>
              <a:rect l="0" t="0" r="r" b="b"/>
              <a:pathLst>
                <a:path w="182" h="296">
                  <a:moveTo>
                    <a:pt x="50" y="126"/>
                  </a:moveTo>
                  <a:lnTo>
                    <a:pt x="40" y="188"/>
                  </a:lnTo>
                  <a:lnTo>
                    <a:pt x="112" y="296"/>
                  </a:lnTo>
                  <a:lnTo>
                    <a:pt x="182" y="284"/>
                  </a:lnTo>
                  <a:lnTo>
                    <a:pt x="118" y="292"/>
                  </a:lnTo>
                  <a:lnTo>
                    <a:pt x="48" y="188"/>
                  </a:lnTo>
                  <a:lnTo>
                    <a:pt x="56" y="118"/>
                  </a:lnTo>
                  <a:lnTo>
                    <a:pt x="8" y="130"/>
                  </a:lnTo>
                  <a:lnTo>
                    <a:pt x="38" y="0"/>
                  </a:lnTo>
                  <a:lnTo>
                    <a:pt x="0" y="138"/>
                  </a:lnTo>
                  <a:lnTo>
                    <a:pt x="50" y="12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56" name="Freeform 2980"/>
            <p:cNvSpPr>
              <a:spLocks/>
            </p:cNvSpPr>
            <p:nvPr/>
          </p:nvSpPr>
          <p:spPr bwMode="auto">
            <a:xfrm>
              <a:off x="3180362" y="2133071"/>
              <a:ext cx="167114" cy="30852"/>
            </a:xfrm>
            <a:custGeom>
              <a:avLst/>
              <a:gdLst/>
              <a:ahLst/>
              <a:cxnLst>
                <a:cxn ang="0">
                  <a:pos x="92" y="14"/>
                </a:cxn>
                <a:cxn ang="0">
                  <a:pos x="130" y="0"/>
                </a:cxn>
                <a:cxn ang="0">
                  <a:pos x="98" y="6"/>
                </a:cxn>
                <a:cxn ang="0">
                  <a:pos x="90" y="8"/>
                </a:cxn>
                <a:cxn ang="0">
                  <a:pos x="70" y="12"/>
                </a:cxn>
                <a:cxn ang="0">
                  <a:pos x="0" y="24"/>
                </a:cxn>
                <a:cxn ang="0">
                  <a:pos x="92" y="14"/>
                </a:cxn>
              </a:cxnLst>
              <a:rect l="0" t="0" r="r" b="b"/>
              <a:pathLst>
                <a:path w="130" h="24">
                  <a:moveTo>
                    <a:pt x="92" y="14"/>
                  </a:moveTo>
                  <a:lnTo>
                    <a:pt x="130" y="0"/>
                  </a:lnTo>
                  <a:lnTo>
                    <a:pt x="98" y="6"/>
                  </a:lnTo>
                  <a:lnTo>
                    <a:pt x="90" y="8"/>
                  </a:lnTo>
                  <a:lnTo>
                    <a:pt x="70" y="12"/>
                  </a:lnTo>
                  <a:lnTo>
                    <a:pt x="0" y="24"/>
                  </a:lnTo>
                  <a:lnTo>
                    <a:pt x="92" y="1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57" name="Freeform 2981"/>
            <p:cNvSpPr>
              <a:spLocks/>
            </p:cNvSpPr>
            <p:nvPr/>
          </p:nvSpPr>
          <p:spPr bwMode="auto">
            <a:xfrm>
              <a:off x="3388612" y="1549456"/>
              <a:ext cx="779010" cy="611896"/>
            </a:xfrm>
            <a:custGeom>
              <a:avLst/>
              <a:gdLst/>
              <a:ahLst/>
              <a:cxnLst>
                <a:cxn ang="0">
                  <a:pos x="600" y="452"/>
                </a:cxn>
                <a:cxn ang="0">
                  <a:pos x="6" y="414"/>
                </a:cxn>
                <a:cxn ang="0">
                  <a:pos x="0" y="476"/>
                </a:cxn>
                <a:cxn ang="0">
                  <a:pos x="12" y="420"/>
                </a:cxn>
                <a:cxn ang="0">
                  <a:pos x="606" y="460"/>
                </a:cxn>
                <a:cxn ang="0">
                  <a:pos x="604" y="0"/>
                </a:cxn>
                <a:cxn ang="0">
                  <a:pos x="600" y="452"/>
                </a:cxn>
              </a:cxnLst>
              <a:rect l="0" t="0" r="r" b="b"/>
              <a:pathLst>
                <a:path w="606" h="476">
                  <a:moveTo>
                    <a:pt x="600" y="452"/>
                  </a:moveTo>
                  <a:lnTo>
                    <a:pt x="6" y="414"/>
                  </a:lnTo>
                  <a:lnTo>
                    <a:pt x="0" y="476"/>
                  </a:lnTo>
                  <a:lnTo>
                    <a:pt x="12" y="420"/>
                  </a:lnTo>
                  <a:lnTo>
                    <a:pt x="606" y="460"/>
                  </a:lnTo>
                  <a:lnTo>
                    <a:pt x="604" y="0"/>
                  </a:lnTo>
                  <a:lnTo>
                    <a:pt x="600" y="45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58" name="Freeform 2982"/>
            <p:cNvSpPr>
              <a:spLocks/>
            </p:cNvSpPr>
            <p:nvPr/>
          </p:nvSpPr>
          <p:spPr bwMode="auto">
            <a:xfrm>
              <a:off x="4165051" y="1549456"/>
              <a:ext cx="789294" cy="591328"/>
            </a:xfrm>
            <a:custGeom>
              <a:avLst/>
              <a:gdLst/>
              <a:ahLst/>
              <a:cxnLst>
                <a:cxn ang="0">
                  <a:pos x="612" y="358"/>
                </a:cxn>
                <a:cxn ang="0">
                  <a:pos x="614" y="354"/>
                </a:cxn>
                <a:cxn ang="0">
                  <a:pos x="2" y="356"/>
                </a:cxn>
                <a:cxn ang="0">
                  <a:pos x="6" y="2"/>
                </a:cxn>
                <a:cxn ang="0">
                  <a:pos x="0" y="0"/>
                </a:cxn>
                <a:cxn ang="0">
                  <a:pos x="2" y="460"/>
                </a:cxn>
                <a:cxn ang="0">
                  <a:pos x="2" y="360"/>
                </a:cxn>
                <a:cxn ang="0">
                  <a:pos x="612" y="358"/>
                </a:cxn>
              </a:cxnLst>
              <a:rect l="0" t="0" r="r" b="b"/>
              <a:pathLst>
                <a:path w="614" h="460">
                  <a:moveTo>
                    <a:pt x="612" y="358"/>
                  </a:moveTo>
                  <a:lnTo>
                    <a:pt x="614" y="354"/>
                  </a:lnTo>
                  <a:lnTo>
                    <a:pt x="2" y="356"/>
                  </a:lnTo>
                  <a:lnTo>
                    <a:pt x="6" y="2"/>
                  </a:lnTo>
                  <a:lnTo>
                    <a:pt x="0" y="0"/>
                  </a:lnTo>
                  <a:lnTo>
                    <a:pt x="2" y="460"/>
                  </a:lnTo>
                  <a:lnTo>
                    <a:pt x="2" y="360"/>
                  </a:lnTo>
                  <a:lnTo>
                    <a:pt x="612" y="35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59" name="Freeform 2983"/>
            <p:cNvSpPr>
              <a:spLocks/>
            </p:cNvSpPr>
            <p:nvPr/>
          </p:nvSpPr>
          <p:spPr bwMode="auto">
            <a:xfrm>
              <a:off x="3306340" y="2127929"/>
              <a:ext cx="79701" cy="53991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32" y="4"/>
                </a:cxn>
                <a:cxn ang="0">
                  <a:pos x="60" y="42"/>
                </a:cxn>
                <a:cxn ang="0">
                  <a:pos x="62" y="34"/>
                </a:cxn>
                <a:cxn ang="0">
                  <a:pos x="36" y="0"/>
                </a:cxn>
                <a:cxn ang="0">
                  <a:pos x="0" y="10"/>
                </a:cxn>
              </a:cxnLst>
              <a:rect l="0" t="0" r="r" b="b"/>
              <a:pathLst>
                <a:path w="62" h="42">
                  <a:moveTo>
                    <a:pt x="0" y="10"/>
                  </a:moveTo>
                  <a:lnTo>
                    <a:pt x="32" y="4"/>
                  </a:lnTo>
                  <a:lnTo>
                    <a:pt x="60" y="42"/>
                  </a:lnTo>
                  <a:lnTo>
                    <a:pt x="62" y="34"/>
                  </a:lnTo>
                  <a:lnTo>
                    <a:pt x="36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60" name="Freeform 2984"/>
            <p:cNvSpPr>
              <a:spLocks/>
            </p:cNvSpPr>
            <p:nvPr/>
          </p:nvSpPr>
          <p:spPr bwMode="auto">
            <a:xfrm>
              <a:off x="3386041" y="2161352"/>
              <a:ext cx="2571" cy="1285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2" y="0"/>
                </a:cxn>
                <a:cxn ang="0">
                  <a:pos x="0" y="8"/>
                </a:cxn>
                <a:cxn ang="0">
                  <a:pos x="0" y="10"/>
                </a:cxn>
              </a:cxnLst>
              <a:rect l="0" t="0" r="r" b="b"/>
              <a:pathLst>
                <a:path w="2" h="10">
                  <a:moveTo>
                    <a:pt x="0" y="10"/>
                  </a:moveTo>
                  <a:lnTo>
                    <a:pt x="2" y="0"/>
                  </a:lnTo>
                  <a:lnTo>
                    <a:pt x="0" y="8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61" name="Freeform 2985"/>
            <p:cNvSpPr>
              <a:spLocks/>
            </p:cNvSpPr>
            <p:nvPr/>
          </p:nvSpPr>
          <p:spPr bwMode="auto">
            <a:xfrm>
              <a:off x="3270346" y="2140784"/>
              <a:ext cx="35994" cy="7713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0" y="6"/>
                </a:cxn>
                <a:cxn ang="0">
                  <a:pos x="20" y="2"/>
                </a:cxn>
                <a:cxn ang="0">
                  <a:pos x="28" y="0"/>
                </a:cxn>
              </a:cxnLst>
              <a:rect l="0" t="0" r="r" b="b"/>
              <a:pathLst>
                <a:path w="28" h="6">
                  <a:moveTo>
                    <a:pt x="28" y="0"/>
                  </a:moveTo>
                  <a:lnTo>
                    <a:pt x="0" y="6"/>
                  </a:lnTo>
                  <a:lnTo>
                    <a:pt x="20" y="2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62" name="Freeform 2986"/>
            <p:cNvSpPr>
              <a:spLocks/>
            </p:cNvSpPr>
            <p:nvPr/>
          </p:nvSpPr>
          <p:spPr bwMode="auto">
            <a:xfrm>
              <a:off x="2709870" y="1336064"/>
              <a:ext cx="673600" cy="1241789"/>
            </a:xfrm>
            <a:custGeom>
              <a:avLst/>
              <a:gdLst/>
              <a:ahLst/>
              <a:cxnLst>
                <a:cxn ang="0">
                  <a:pos x="458" y="634"/>
                </a:cxn>
                <a:cxn ang="0">
                  <a:pos x="366" y="644"/>
                </a:cxn>
                <a:cxn ang="0">
                  <a:pos x="294" y="536"/>
                </a:cxn>
                <a:cxn ang="0">
                  <a:pos x="304" y="474"/>
                </a:cxn>
                <a:cxn ang="0">
                  <a:pos x="254" y="486"/>
                </a:cxn>
                <a:cxn ang="0">
                  <a:pos x="284" y="348"/>
                </a:cxn>
                <a:cxn ang="0">
                  <a:pos x="256" y="334"/>
                </a:cxn>
                <a:cxn ang="0">
                  <a:pos x="184" y="168"/>
                </a:cxn>
                <a:cxn ang="0">
                  <a:pos x="210" y="24"/>
                </a:cxn>
                <a:cxn ang="0">
                  <a:pos x="212" y="26"/>
                </a:cxn>
                <a:cxn ang="0">
                  <a:pos x="214" y="22"/>
                </a:cxn>
                <a:cxn ang="0">
                  <a:pos x="136" y="0"/>
                </a:cxn>
                <a:cxn ang="0">
                  <a:pos x="136" y="2"/>
                </a:cxn>
                <a:cxn ang="0">
                  <a:pos x="140" y="4"/>
                </a:cxn>
                <a:cxn ang="0">
                  <a:pos x="78" y="344"/>
                </a:cxn>
                <a:cxn ang="0">
                  <a:pos x="108" y="438"/>
                </a:cxn>
                <a:cxn ang="0">
                  <a:pos x="40" y="574"/>
                </a:cxn>
                <a:cxn ang="0">
                  <a:pos x="50" y="600"/>
                </a:cxn>
                <a:cxn ang="0">
                  <a:pos x="0" y="866"/>
                </a:cxn>
                <a:cxn ang="0">
                  <a:pos x="496" y="966"/>
                </a:cxn>
                <a:cxn ang="0">
                  <a:pos x="524" y="658"/>
                </a:cxn>
                <a:cxn ang="0">
                  <a:pos x="496" y="620"/>
                </a:cxn>
                <a:cxn ang="0">
                  <a:pos x="458" y="634"/>
                </a:cxn>
              </a:cxnLst>
              <a:rect l="0" t="0" r="r" b="b"/>
              <a:pathLst>
                <a:path w="524" h="966">
                  <a:moveTo>
                    <a:pt x="458" y="634"/>
                  </a:moveTo>
                  <a:lnTo>
                    <a:pt x="366" y="644"/>
                  </a:lnTo>
                  <a:lnTo>
                    <a:pt x="294" y="536"/>
                  </a:lnTo>
                  <a:lnTo>
                    <a:pt x="304" y="474"/>
                  </a:lnTo>
                  <a:lnTo>
                    <a:pt x="254" y="486"/>
                  </a:lnTo>
                  <a:lnTo>
                    <a:pt x="284" y="348"/>
                  </a:lnTo>
                  <a:lnTo>
                    <a:pt x="256" y="334"/>
                  </a:lnTo>
                  <a:lnTo>
                    <a:pt x="184" y="168"/>
                  </a:lnTo>
                  <a:lnTo>
                    <a:pt x="210" y="24"/>
                  </a:lnTo>
                  <a:lnTo>
                    <a:pt x="212" y="26"/>
                  </a:lnTo>
                  <a:lnTo>
                    <a:pt x="214" y="22"/>
                  </a:lnTo>
                  <a:lnTo>
                    <a:pt x="136" y="0"/>
                  </a:lnTo>
                  <a:lnTo>
                    <a:pt x="136" y="2"/>
                  </a:lnTo>
                  <a:lnTo>
                    <a:pt x="140" y="4"/>
                  </a:lnTo>
                  <a:lnTo>
                    <a:pt x="78" y="344"/>
                  </a:lnTo>
                  <a:lnTo>
                    <a:pt x="108" y="438"/>
                  </a:lnTo>
                  <a:lnTo>
                    <a:pt x="40" y="574"/>
                  </a:lnTo>
                  <a:lnTo>
                    <a:pt x="50" y="600"/>
                  </a:lnTo>
                  <a:lnTo>
                    <a:pt x="0" y="866"/>
                  </a:lnTo>
                  <a:lnTo>
                    <a:pt x="496" y="966"/>
                  </a:lnTo>
                  <a:lnTo>
                    <a:pt x="524" y="658"/>
                  </a:lnTo>
                  <a:lnTo>
                    <a:pt x="496" y="620"/>
                  </a:lnTo>
                  <a:lnTo>
                    <a:pt x="458" y="63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63" name="Freeform 2987"/>
            <p:cNvSpPr>
              <a:spLocks/>
            </p:cNvSpPr>
            <p:nvPr/>
          </p:nvSpPr>
          <p:spPr bwMode="auto">
            <a:xfrm>
              <a:off x="4982627" y="2508436"/>
              <a:ext cx="151688" cy="408788"/>
            </a:xfrm>
            <a:custGeom>
              <a:avLst/>
              <a:gdLst/>
              <a:ahLst/>
              <a:cxnLst>
                <a:cxn ang="0">
                  <a:pos x="94" y="254"/>
                </a:cxn>
                <a:cxn ang="0">
                  <a:pos x="94" y="256"/>
                </a:cxn>
                <a:cxn ang="0">
                  <a:pos x="96" y="256"/>
                </a:cxn>
                <a:cxn ang="0">
                  <a:pos x="118" y="318"/>
                </a:cxn>
                <a:cxn ang="0">
                  <a:pos x="0" y="0"/>
                </a:cxn>
                <a:cxn ang="0">
                  <a:pos x="94" y="254"/>
                </a:cxn>
                <a:cxn ang="0">
                  <a:pos x="94" y="254"/>
                </a:cxn>
              </a:cxnLst>
              <a:rect l="0" t="0" r="r" b="b"/>
              <a:pathLst>
                <a:path w="118" h="318">
                  <a:moveTo>
                    <a:pt x="94" y="254"/>
                  </a:moveTo>
                  <a:lnTo>
                    <a:pt x="94" y="256"/>
                  </a:lnTo>
                  <a:lnTo>
                    <a:pt x="96" y="256"/>
                  </a:lnTo>
                  <a:lnTo>
                    <a:pt x="118" y="318"/>
                  </a:lnTo>
                  <a:lnTo>
                    <a:pt x="0" y="0"/>
                  </a:lnTo>
                  <a:lnTo>
                    <a:pt x="94" y="254"/>
                  </a:lnTo>
                  <a:lnTo>
                    <a:pt x="94" y="2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64" name="Freeform 2988"/>
            <p:cNvSpPr>
              <a:spLocks/>
            </p:cNvSpPr>
            <p:nvPr/>
          </p:nvSpPr>
          <p:spPr bwMode="auto">
            <a:xfrm>
              <a:off x="4969772" y="2089364"/>
              <a:ext cx="12855" cy="419072"/>
            </a:xfrm>
            <a:custGeom>
              <a:avLst/>
              <a:gdLst/>
              <a:ahLst/>
              <a:cxnLst>
                <a:cxn ang="0">
                  <a:pos x="6" y="188"/>
                </a:cxn>
                <a:cxn ang="0">
                  <a:pos x="6" y="188"/>
                </a:cxn>
                <a:cxn ang="0">
                  <a:pos x="10" y="326"/>
                </a:cxn>
                <a:cxn ang="0">
                  <a:pos x="0" y="0"/>
                </a:cxn>
                <a:cxn ang="0">
                  <a:pos x="6" y="186"/>
                </a:cxn>
                <a:cxn ang="0">
                  <a:pos x="6" y="188"/>
                </a:cxn>
              </a:cxnLst>
              <a:rect l="0" t="0" r="r" b="b"/>
              <a:pathLst>
                <a:path w="10" h="326">
                  <a:moveTo>
                    <a:pt x="6" y="188"/>
                  </a:moveTo>
                  <a:lnTo>
                    <a:pt x="6" y="188"/>
                  </a:lnTo>
                  <a:lnTo>
                    <a:pt x="10" y="326"/>
                  </a:lnTo>
                  <a:lnTo>
                    <a:pt x="0" y="0"/>
                  </a:lnTo>
                  <a:lnTo>
                    <a:pt x="6" y="186"/>
                  </a:lnTo>
                  <a:lnTo>
                    <a:pt x="6" y="18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65" name="Freeform 2989"/>
            <p:cNvSpPr>
              <a:spLocks/>
            </p:cNvSpPr>
            <p:nvPr/>
          </p:nvSpPr>
          <p:spPr bwMode="auto">
            <a:xfrm>
              <a:off x="4159909" y="1552027"/>
              <a:ext cx="833001" cy="1249502"/>
            </a:xfrm>
            <a:custGeom>
              <a:avLst/>
              <a:gdLst/>
              <a:ahLst/>
              <a:cxnLst>
                <a:cxn ang="0">
                  <a:pos x="478" y="708"/>
                </a:cxn>
                <a:cxn ang="0">
                  <a:pos x="648" y="766"/>
                </a:cxn>
                <a:cxn ang="0">
                  <a:pos x="646" y="758"/>
                </a:cxn>
                <a:cxn ang="0">
                  <a:pos x="478" y="704"/>
                </a:cxn>
                <a:cxn ang="0">
                  <a:pos x="4" y="706"/>
                </a:cxn>
                <a:cxn ang="0">
                  <a:pos x="8" y="458"/>
                </a:cxn>
                <a:cxn ang="0">
                  <a:pos x="6" y="458"/>
                </a:cxn>
                <a:cxn ang="0">
                  <a:pos x="6" y="358"/>
                </a:cxn>
                <a:cxn ang="0">
                  <a:pos x="616" y="356"/>
                </a:cxn>
                <a:cxn ang="0">
                  <a:pos x="618" y="352"/>
                </a:cxn>
                <a:cxn ang="0">
                  <a:pos x="6" y="354"/>
                </a:cxn>
                <a:cxn ang="0">
                  <a:pos x="10" y="0"/>
                </a:cxn>
                <a:cxn ang="0">
                  <a:pos x="8" y="0"/>
                </a:cxn>
                <a:cxn ang="0">
                  <a:pos x="0" y="972"/>
                </a:cxn>
                <a:cxn ang="0">
                  <a:pos x="4" y="710"/>
                </a:cxn>
                <a:cxn ang="0">
                  <a:pos x="478" y="708"/>
                </a:cxn>
              </a:cxnLst>
              <a:rect l="0" t="0" r="r" b="b"/>
              <a:pathLst>
                <a:path w="648" h="972">
                  <a:moveTo>
                    <a:pt x="478" y="708"/>
                  </a:moveTo>
                  <a:lnTo>
                    <a:pt x="648" y="766"/>
                  </a:lnTo>
                  <a:lnTo>
                    <a:pt x="646" y="758"/>
                  </a:lnTo>
                  <a:lnTo>
                    <a:pt x="478" y="704"/>
                  </a:lnTo>
                  <a:lnTo>
                    <a:pt x="4" y="706"/>
                  </a:lnTo>
                  <a:lnTo>
                    <a:pt x="8" y="458"/>
                  </a:lnTo>
                  <a:lnTo>
                    <a:pt x="6" y="458"/>
                  </a:lnTo>
                  <a:lnTo>
                    <a:pt x="6" y="358"/>
                  </a:lnTo>
                  <a:lnTo>
                    <a:pt x="616" y="356"/>
                  </a:lnTo>
                  <a:lnTo>
                    <a:pt x="618" y="352"/>
                  </a:lnTo>
                  <a:lnTo>
                    <a:pt x="6" y="354"/>
                  </a:lnTo>
                  <a:lnTo>
                    <a:pt x="10" y="0"/>
                  </a:lnTo>
                  <a:lnTo>
                    <a:pt x="8" y="0"/>
                  </a:lnTo>
                  <a:lnTo>
                    <a:pt x="0" y="972"/>
                  </a:lnTo>
                  <a:lnTo>
                    <a:pt x="4" y="710"/>
                  </a:lnTo>
                  <a:lnTo>
                    <a:pt x="478" y="70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66" name="Freeform 2990"/>
            <p:cNvSpPr>
              <a:spLocks/>
            </p:cNvSpPr>
            <p:nvPr/>
          </p:nvSpPr>
          <p:spPr bwMode="auto">
            <a:xfrm>
              <a:off x="4370731" y="2917223"/>
              <a:ext cx="773868" cy="10284"/>
            </a:xfrm>
            <a:custGeom>
              <a:avLst/>
              <a:gdLst/>
              <a:ahLst/>
              <a:cxnLst>
                <a:cxn ang="0">
                  <a:pos x="602" y="6"/>
                </a:cxn>
                <a:cxn ang="0">
                  <a:pos x="594" y="0"/>
                </a:cxn>
                <a:cxn ang="0">
                  <a:pos x="0" y="8"/>
                </a:cxn>
                <a:cxn ang="0">
                  <a:pos x="602" y="6"/>
                </a:cxn>
              </a:cxnLst>
              <a:rect l="0" t="0" r="r" b="b"/>
              <a:pathLst>
                <a:path w="602" h="8">
                  <a:moveTo>
                    <a:pt x="602" y="6"/>
                  </a:moveTo>
                  <a:lnTo>
                    <a:pt x="594" y="0"/>
                  </a:lnTo>
                  <a:lnTo>
                    <a:pt x="0" y="8"/>
                  </a:lnTo>
                  <a:lnTo>
                    <a:pt x="602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67" name="Freeform 2991"/>
            <p:cNvSpPr>
              <a:spLocks/>
            </p:cNvSpPr>
            <p:nvPr/>
          </p:nvSpPr>
          <p:spPr bwMode="auto">
            <a:xfrm>
              <a:off x="4861790" y="1513462"/>
              <a:ext cx="95127" cy="485917"/>
            </a:xfrm>
            <a:custGeom>
              <a:avLst/>
              <a:gdLst/>
              <a:ahLst/>
              <a:cxnLst>
                <a:cxn ang="0">
                  <a:pos x="74" y="378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74" y="378"/>
                </a:cxn>
              </a:cxnLst>
              <a:rect l="0" t="0" r="r" b="b"/>
              <a:pathLst>
                <a:path w="74" h="378">
                  <a:moveTo>
                    <a:pt x="74" y="378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74" y="37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68" name="Freeform 2992"/>
            <p:cNvSpPr>
              <a:spLocks/>
            </p:cNvSpPr>
            <p:nvPr/>
          </p:nvSpPr>
          <p:spPr bwMode="auto">
            <a:xfrm>
              <a:off x="2952829" y="1361774"/>
              <a:ext cx="1213508" cy="807291"/>
            </a:xfrm>
            <a:custGeom>
              <a:avLst/>
              <a:gdLst/>
              <a:ahLst/>
              <a:cxnLst>
                <a:cxn ang="0">
                  <a:pos x="260" y="62"/>
                </a:cxn>
                <a:cxn ang="0">
                  <a:pos x="22" y="0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0" y="148"/>
                </a:cxn>
                <a:cxn ang="0">
                  <a:pos x="66" y="306"/>
                </a:cxn>
                <a:cxn ang="0">
                  <a:pos x="100" y="326"/>
                </a:cxn>
                <a:cxn ang="0">
                  <a:pos x="70" y="456"/>
                </a:cxn>
                <a:cxn ang="0">
                  <a:pos x="118" y="444"/>
                </a:cxn>
                <a:cxn ang="0">
                  <a:pos x="110" y="514"/>
                </a:cxn>
                <a:cxn ang="0">
                  <a:pos x="180" y="618"/>
                </a:cxn>
                <a:cxn ang="0">
                  <a:pos x="244" y="610"/>
                </a:cxn>
                <a:cxn ang="0">
                  <a:pos x="272" y="604"/>
                </a:cxn>
                <a:cxn ang="0">
                  <a:pos x="308" y="594"/>
                </a:cxn>
                <a:cxn ang="0">
                  <a:pos x="334" y="628"/>
                </a:cxn>
                <a:cxn ang="0">
                  <a:pos x="336" y="620"/>
                </a:cxn>
                <a:cxn ang="0">
                  <a:pos x="342" y="558"/>
                </a:cxn>
                <a:cxn ang="0">
                  <a:pos x="936" y="596"/>
                </a:cxn>
                <a:cxn ang="0">
                  <a:pos x="940" y="144"/>
                </a:cxn>
                <a:cxn ang="0">
                  <a:pos x="944" y="146"/>
                </a:cxn>
                <a:cxn ang="0">
                  <a:pos x="944" y="140"/>
                </a:cxn>
                <a:cxn ang="0">
                  <a:pos x="260" y="62"/>
                </a:cxn>
              </a:cxnLst>
              <a:rect l="0" t="0" r="r" b="b"/>
              <a:pathLst>
                <a:path w="944" h="628">
                  <a:moveTo>
                    <a:pt x="260" y="62"/>
                  </a:moveTo>
                  <a:lnTo>
                    <a:pt x="22" y="0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0" y="148"/>
                  </a:lnTo>
                  <a:lnTo>
                    <a:pt x="66" y="306"/>
                  </a:lnTo>
                  <a:lnTo>
                    <a:pt x="100" y="326"/>
                  </a:lnTo>
                  <a:lnTo>
                    <a:pt x="70" y="456"/>
                  </a:lnTo>
                  <a:lnTo>
                    <a:pt x="118" y="444"/>
                  </a:lnTo>
                  <a:lnTo>
                    <a:pt x="110" y="514"/>
                  </a:lnTo>
                  <a:lnTo>
                    <a:pt x="180" y="618"/>
                  </a:lnTo>
                  <a:lnTo>
                    <a:pt x="244" y="610"/>
                  </a:lnTo>
                  <a:lnTo>
                    <a:pt x="272" y="604"/>
                  </a:lnTo>
                  <a:lnTo>
                    <a:pt x="308" y="594"/>
                  </a:lnTo>
                  <a:lnTo>
                    <a:pt x="334" y="628"/>
                  </a:lnTo>
                  <a:lnTo>
                    <a:pt x="336" y="620"/>
                  </a:lnTo>
                  <a:lnTo>
                    <a:pt x="342" y="558"/>
                  </a:lnTo>
                  <a:lnTo>
                    <a:pt x="936" y="596"/>
                  </a:lnTo>
                  <a:lnTo>
                    <a:pt x="940" y="144"/>
                  </a:lnTo>
                  <a:lnTo>
                    <a:pt x="944" y="146"/>
                  </a:lnTo>
                  <a:lnTo>
                    <a:pt x="944" y="140"/>
                  </a:lnTo>
                  <a:lnTo>
                    <a:pt x="260" y="6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69" name="Freeform 2993"/>
            <p:cNvSpPr>
              <a:spLocks/>
            </p:cNvSpPr>
            <p:nvPr/>
          </p:nvSpPr>
          <p:spPr bwMode="auto">
            <a:xfrm>
              <a:off x="4774376" y="2457016"/>
              <a:ext cx="215963" cy="7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8" y="56"/>
                </a:cxn>
                <a:cxn ang="0">
                  <a:pos x="168" y="54"/>
                </a:cxn>
                <a:cxn ang="0">
                  <a:pos x="0" y="0"/>
                </a:cxn>
              </a:cxnLst>
              <a:rect l="0" t="0" r="r" b="b"/>
              <a:pathLst>
                <a:path w="168" h="56">
                  <a:moveTo>
                    <a:pt x="0" y="0"/>
                  </a:moveTo>
                  <a:lnTo>
                    <a:pt x="168" y="56"/>
                  </a:lnTo>
                  <a:lnTo>
                    <a:pt x="168" y="5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70" name="Freeform 2994"/>
            <p:cNvSpPr>
              <a:spLocks/>
            </p:cNvSpPr>
            <p:nvPr/>
          </p:nvSpPr>
          <p:spPr bwMode="auto">
            <a:xfrm>
              <a:off x="4167622" y="1508320"/>
              <a:ext cx="789294" cy="498772"/>
            </a:xfrm>
            <a:custGeom>
              <a:avLst/>
              <a:gdLst/>
              <a:ahLst/>
              <a:cxnLst>
                <a:cxn ang="0">
                  <a:pos x="614" y="382"/>
                </a:cxn>
                <a:cxn ang="0">
                  <a:pos x="540" y="4"/>
                </a:cxn>
                <a:cxn ang="0">
                  <a:pos x="542" y="4"/>
                </a:cxn>
                <a:cxn ang="0">
                  <a:pos x="542" y="0"/>
                </a:cxn>
                <a:cxn ang="0">
                  <a:pos x="26" y="32"/>
                </a:cxn>
                <a:cxn ang="0">
                  <a:pos x="2" y="28"/>
                </a:cxn>
                <a:cxn ang="0">
                  <a:pos x="2" y="34"/>
                </a:cxn>
                <a:cxn ang="0">
                  <a:pos x="4" y="34"/>
                </a:cxn>
                <a:cxn ang="0">
                  <a:pos x="0" y="388"/>
                </a:cxn>
                <a:cxn ang="0">
                  <a:pos x="612" y="386"/>
                </a:cxn>
                <a:cxn ang="0">
                  <a:pos x="610" y="388"/>
                </a:cxn>
                <a:cxn ang="0">
                  <a:pos x="610" y="388"/>
                </a:cxn>
                <a:cxn ang="0">
                  <a:pos x="614" y="382"/>
                </a:cxn>
              </a:cxnLst>
              <a:rect l="0" t="0" r="r" b="b"/>
              <a:pathLst>
                <a:path w="614" h="388">
                  <a:moveTo>
                    <a:pt x="614" y="382"/>
                  </a:moveTo>
                  <a:lnTo>
                    <a:pt x="540" y="4"/>
                  </a:lnTo>
                  <a:lnTo>
                    <a:pt x="542" y="4"/>
                  </a:lnTo>
                  <a:lnTo>
                    <a:pt x="542" y="0"/>
                  </a:lnTo>
                  <a:lnTo>
                    <a:pt x="26" y="32"/>
                  </a:lnTo>
                  <a:lnTo>
                    <a:pt x="2" y="28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0" y="388"/>
                  </a:lnTo>
                  <a:lnTo>
                    <a:pt x="612" y="386"/>
                  </a:lnTo>
                  <a:lnTo>
                    <a:pt x="610" y="388"/>
                  </a:lnTo>
                  <a:lnTo>
                    <a:pt x="610" y="388"/>
                  </a:lnTo>
                  <a:lnTo>
                    <a:pt x="614" y="38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71" name="Freeform 2995"/>
            <p:cNvSpPr>
              <a:spLocks/>
            </p:cNvSpPr>
            <p:nvPr/>
          </p:nvSpPr>
          <p:spPr bwMode="auto">
            <a:xfrm>
              <a:off x="4159909" y="2462158"/>
              <a:ext cx="974406" cy="465349"/>
            </a:xfrm>
            <a:custGeom>
              <a:avLst/>
              <a:gdLst/>
              <a:ahLst/>
              <a:cxnLst>
                <a:cxn ang="0">
                  <a:pos x="736" y="292"/>
                </a:cxn>
                <a:cxn ang="0">
                  <a:pos x="734" y="292"/>
                </a:cxn>
                <a:cxn ang="0">
                  <a:pos x="734" y="290"/>
                </a:cxn>
                <a:cxn ang="0">
                  <a:pos x="734" y="290"/>
                </a:cxn>
                <a:cxn ang="0">
                  <a:pos x="646" y="52"/>
                </a:cxn>
                <a:cxn ang="0">
                  <a:pos x="646" y="52"/>
                </a:cxn>
                <a:cxn ang="0">
                  <a:pos x="648" y="58"/>
                </a:cxn>
                <a:cxn ang="0">
                  <a:pos x="478" y="0"/>
                </a:cxn>
                <a:cxn ang="0">
                  <a:pos x="4" y="2"/>
                </a:cxn>
                <a:cxn ang="0">
                  <a:pos x="0" y="264"/>
                </a:cxn>
                <a:cxn ang="0">
                  <a:pos x="158" y="268"/>
                </a:cxn>
                <a:cxn ang="0">
                  <a:pos x="164" y="362"/>
                </a:cxn>
                <a:cxn ang="0">
                  <a:pos x="758" y="354"/>
                </a:cxn>
                <a:cxn ang="0">
                  <a:pos x="736" y="292"/>
                </a:cxn>
              </a:cxnLst>
              <a:rect l="0" t="0" r="r" b="b"/>
              <a:pathLst>
                <a:path w="758" h="362">
                  <a:moveTo>
                    <a:pt x="736" y="292"/>
                  </a:moveTo>
                  <a:lnTo>
                    <a:pt x="734" y="292"/>
                  </a:lnTo>
                  <a:lnTo>
                    <a:pt x="734" y="290"/>
                  </a:lnTo>
                  <a:lnTo>
                    <a:pt x="734" y="290"/>
                  </a:lnTo>
                  <a:lnTo>
                    <a:pt x="646" y="52"/>
                  </a:lnTo>
                  <a:lnTo>
                    <a:pt x="646" y="52"/>
                  </a:lnTo>
                  <a:lnTo>
                    <a:pt x="648" y="58"/>
                  </a:lnTo>
                  <a:lnTo>
                    <a:pt x="478" y="0"/>
                  </a:lnTo>
                  <a:lnTo>
                    <a:pt x="4" y="2"/>
                  </a:lnTo>
                  <a:lnTo>
                    <a:pt x="0" y="264"/>
                  </a:lnTo>
                  <a:lnTo>
                    <a:pt x="158" y="268"/>
                  </a:lnTo>
                  <a:lnTo>
                    <a:pt x="164" y="362"/>
                  </a:lnTo>
                  <a:lnTo>
                    <a:pt x="758" y="354"/>
                  </a:lnTo>
                  <a:lnTo>
                    <a:pt x="736" y="29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72" name="Freeform 2996"/>
            <p:cNvSpPr>
              <a:spLocks/>
            </p:cNvSpPr>
            <p:nvPr/>
          </p:nvSpPr>
          <p:spPr bwMode="auto">
            <a:xfrm>
              <a:off x="4165051" y="2007092"/>
              <a:ext cx="825288" cy="521911"/>
            </a:xfrm>
            <a:custGeom>
              <a:avLst/>
              <a:gdLst/>
              <a:ahLst/>
              <a:cxnLst>
                <a:cxn ang="0">
                  <a:pos x="636" y="390"/>
                </a:cxn>
                <a:cxn ang="0">
                  <a:pos x="632" y="252"/>
                </a:cxn>
                <a:cxn ang="0">
                  <a:pos x="632" y="252"/>
                </a:cxn>
                <a:cxn ang="0">
                  <a:pos x="632" y="250"/>
                </a:cxn>
                <a:cxn ang="0">
                  <a:pos x="626" y="64"/>
                </a:cxn>
                <a:cxn ang="0">
                  <a:pos x="596" y="26"/>
                </a:cxn>
                <a:cxn ang="0">
                  <a:pos x="612" y="0"/>
                </a:cxn>
                <a:cxn ang="0">
                  <a:pos x="612" y="0"/>
                </a:cxn>
                <a:cxn ang="0">
                  <a:pos x="612" y="2"/>
                </a:cxn>
                <a:cxn ang="0">
                  <a:pos x="2" y="4"/>
                </a:cxn>
                <a:cxn ang="0">
                  <a:pos x="2" y="104"/>
                </a:cxn>
                <a:cxn ang="0">
                  <a:pos x="4" y="104"/>
                </a:cxn>
                <a:cxn ang="0">
                  <a:pos x="0" y="352"/>
                </a:cxn>
                <a:cxn ang="0">
                  <a:pos x="474" y="350"/>
                </a:cxn>
                <a:cxn ang="0">
                  <a:pos x="642" y="404"/>
                </a:cxn>
                <a:cxn ang="0">
                  <a:pos x="642" y="406"/>
                </a:cxn>
                <a:cxn ang="0">
                  <a:pos x="642" y="406"/>
                </a:cxn>
                <a:cxn ang="0">
                  <a:pos x="636" y="390"/>
                </a:cxn>
              </a:cxnLst>
              <a:rect l="0" t="0" r="r" b="b"/>
              <a:pathLst>
                <a:path w="642" h="406">
                  <a:moveTo>
                    <a:pt x="636" y="390"/>
                  </a:moveTo>
                  <a:lnTo>
                    <a:pt x="632" y="252"/>
                  </a:lnTo>
                  <a:lnTo>
                    <a:pt x="632" y="252"/>
                  </a:lnTo>
                  <a:lnTo>
                    <a:pt x="632" y="250"/>
                  </a:lnTo>
                  <a:lnTo>
                    <a:pt x="626" y="64"/>
                  </a:lnTo>
                  <a:lnTo>
                    <a:pt x="596" y="26"/>
                  </a:lnTo>
                  <a:lnTo>
                    <a:pt x="612" y="0"/>
                  </a:lnTo>
                  <a:lnTo>
                    <a:pt x="612" y="0"/>
                  </a:lnTo>
                  <a:lnTo>
                    <a:pt x="612" y="2"/>
                  </a:lnTo>
                  <a:lnTo>
                    <a:pt x="2" y="4"/>
                  </a:lnTo>
                  <a:lnTo>
                    <a:pt x="2" y="104"/>
                  </a:lnTo>
                  <a:lnTo>
                    <a:pt x="4" y="104"/>
                  </a:lnTo>
                  <a:lnTo>
                    <a:pt x="0" y="352"/>
                  </a:lnTo>
                  <a:lnTo>
                    <a:pt x="474" y="350"/>
                  </a:lnTo>
                  <a:lnTo>
                    <a:pt x="642" y="404"/>
                  </a:lnTo>
                  <a:lnTo>
                    <a:pt x="642" y="406"/>
                  </a:lnTo>
                  <a:lnTo>
                    <a:pt x="642" y="406"/>
                  </a:lnTo>
                  <a:lnTo>
                    <a:pt x="636" y="3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73" name="Freeform 2997"/>
            <p:cNvSpPr>
              <a:spLocks/>
            </p:cNvSpPr>
            <p:nvPr/>
          </p:nvSpPr>
          <p:spPr bwMode="auto">
            <a:xfrm>
              <a:off x="4987769" y="2297614"/>
              <a:ext cx="673600" cy="537337"/>
            </a:xfrm>
            <a:custGeom>
              <a:avLst/>
              <a:gdLst/>
              <a:ahLst/>
              <a:cxnLst>
                <a:cxn ang="0">
                  <a:pos x="524" y="202"/>
                </a:cxn>
                <a:cxn ang="0">
                  <a:pos x="516" y="146"/>
                </a:cxn>
                <a:cxn ang="0">
                  <a:pos x="444" y="76"/>
                </a:cxn>
                <a:cxn ang="0">
                  <a:pos x="428" y="2"/>
                </a:cxn>
                <a:cxn ang="0">
                  <a:pos x="428" y="0"/>
                </a:cxn>
                <a:cxn ang="0">
                  <a:pos x="416" y="0"/>
                </a:cxn>
                <a:cxn ang="0">
                  <a:pos x="426" y="0"/>
                </a:cxn>
                <a:cxn ang="0">
                  <a:pos x="428" y="6"/>
                </a:cxn>
                <a:cxn ang="0">
                  <a:pos x="0" y="24"/>
                </a:cxn>
                <a:cxn ang="0">
                  <a:pos x="4" y="160"/>
                </a:cxn>
                <a:cxn ang="0">
                  <a:pos x="98" y="418"/>
                </a:cxn>
                <a:cxn ang="0">
                  <a:pos x="444" y="408"/>
                </a:cxn>
                <a:cxn ang="0">
                  <a:pos x="444" y="378"/>
                </a:cxn>
                <a:cxn ang="0">
                  <a:pos x="484" y="308"/>
                </a:cxn>
                <a:cxn ang="0">
                  <a:pos x="464" y="268"/>
                </a:cxn>
                <a:cxn ang="0">
                  <a:pos x="524" y="202"/>
                </a:cxn>
              </a:cxnLst>
              <a:rect l="0" t="0" r="r" b="b"/>
              <a:pathLst>
                <a:path w="524" h="418">
                  <a:moveTo>
                    <a:pt x="524" y="202"/>
                  </a:moveTo>
                  <a:lnTo>
                    <a:pt x="516" y="146"/>
                  </a:lnTo>
                  <a:lnTo>
                    <a:pt x="444" y="76"/>
                  </a:lnTo>
                  <a:lnTo>
                    <a:pt x="428" y="2"/>
                  </a:lnTo>
                  <a:lnTo>
                    <a:pt x="428" y="0"/>
                  </a:lnTo>
                  <a:lnTo>
                    <a:pt x="416" y="0"/>
                  </a:lnTo>
                  <a:lnTo>
                    <a:pt x="426" y="0"/>
                  </a:lnTo>
                  <a:lnTo>
                    <a:pt x="428" y="6"/>
                  </a:lnTo>
                  <a:lnTo>
                    <a:pt x="0" y="24"/>
                  </a:lnTo>
                  <a:lnTo>
                    <a:pt x="4" y="160"/>
                  </a:lnTo>
                  <a:lnTo>
                    <a:pt x="98" y="418"/>
                  </a:lnTo>
                  <a:lnTo>
                    <a:pt x="444" y="408"/>
                  </a:lnTo>
                  <a:lnTo>
                    <a:pt x="444" y="378"/>
                  </a:lnTo>
                  <a:lnTo>
                    <a:pt x="484" y="308"/>
                  </a:lnTo>
                  <a:lnTo>
                    <a:pt x="464" y="268"/>
                  </a:lnTo>
                  <a:lnTo>
                    <a:pt x="524" y="20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74" name="Freeform 2998"/>
            <p:cNvSpPr>
              <a:spLocks/>
            </p:cNvSpPr>
            <p:nvPr/>
          </p:nvSpPr>
          <p:spPr bwMode="auto">
            <a:xfrm>
              <a:off x="4864361" y="1498036"/>
              <a:ext cx="753300" cy="820146"/>
            </a:xfrm>
            <a:custGeom>
              <a:avLst/>
              <a:gdLst/>
              <a:ahLst/>
              <a:cxnLst>
                <a:cxn ang="0">
                  <a:pos x="514" y="566"/>
                </a:cxn>
                <a:cxn ang="0">
                  <a:pos x="376" y="482"/>
                </a:cxn>
                <a:cxn ang="0">
                  <a:pos x="346" y="344"/>
                </a:cxn>
                <a:cxn ang="0">
                  <a:pos x="386" y="302"/>
                </a:cxn>
                <a:cxn ang="0">
                  <a:pos x="424" y="214"/>
                </a:cxn>
                <a:cxn ang="0">
                  <a:pos x="418" y="216"/>
                </a:cxn>
                <a:cxn ang="0">
                  <a:pos x="506" y="108"/>
                </a:cxn>
                <a:cxn ang="0">
                  <a:pos x="586" y="54"/>
                </a:cxn>
                <a:cxn ang="0">
                  <a:pos x="406" y="54"/>
                </a:cxn>
                <a:cxn ang="0">
                  <a:pos x="158" y="0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4" y="14"/>
                </a:cxn>
                <a:cxn ang="0">
                  <a:pos x="78" y="390"/>
                </a:cxn>
                <a:cxn ang="0">
                  <a:pos x="60" y="422"/>
                </a:cxn>
                <a:cxn ang="0">
                  <a:pos x="90" y="460"/>
                </a:cxn>
                <a:cxn ang="0">
                  <a:pos x="96" y="638"/>
                </a:cxn>
                <a:cxn ang="0">
                  <a:pos x="512" y="622"/>
                </a:cxn>
                <a:cxn ang="0">
                  <a:pos x="524" y="622"/>
                </a:cxn>
                <a:cxn ang="0">
                  <a:pos x="514" y="566"/>
                </a:cxn>
              </a:cxnLst>
              <a:rect l="0" t="0" r="r" b="b"/>
              <a:pathLst>
                <a:path w="586" h="638">
                  <a:moveTo>
                    <a:pt x="514" y="566"/>
                  </a:moveTo>
                  <a:lnTo>
                    <a:pt x="376" y="482"/>
                  </a:lnTo>
                  <a:lnTo>
                    <a:pt x="346" y="344"/>
                  </a:lnTo>
                  <a:lnTo>
                    <a:pt x="386" y="302"/>
                  </a:lnTo>
                  <a:lnTo>
                    <a:pt x="424" y="214"/>
                  </a:lnTo>
                  <a:lnTo>
                    <a:pt x="418" y="216"/>
                  </a:lnTo>
                  <a:lnTo>
                    <a:pt x="506" y="108"/>
                  </a:lnTo>
                  <a:lnTo>
                    <a:pt x="586" y="54"/>
                  </a:lnTo>
                  <a:lnTo>
                    <a:pt x="406" y="54"/>
                  </a:lnTo>
                  <a:lnTo>
                    <a:pt x="158" y="0"/>
                  </a:lnTo>
                  <a:lnTo>
                    <a:pt x="0" y="8"/>
                  </a:lnTo>
                  <a:lnTo>
                    <a:pt x="0" y="12"/>
                  </a:lnTo>
                  <a:lnTo>
                    <a:pt x="4" y="14"/>
                  </a:lnTo>
                  <a:lnTo>
                    <a:pt x="78" y="390"/>
                  </a:lnTo>
                  <a:lnTo>
                    <a:pt x="60" y="422"/>
                  </a:lnTo>
                  <a:lnTo>
                    <a:pt x="90" y="460"/>
                  </a:lnTo>
                  <a:lnTo>
                    <a:pt x="96" y="638"/>
                  </a:lnTo>
                  <a:lnTo>
                    <a:pt x="512" y="622"/>
                  </a:lnTo>
                  <a:lnTo>
                    <a:pt x="524" y="622"/>
                  </a:lnTo>
                  <a:lnTo>
                    <a:pt x="514" y="5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75" name="Freeform 2999"/>
            <p:cNvSpPr>
              <a:spLocks/>
            </p:cNvSpPr>
            <p:nvPr/>
          </p:nvSpPr>
          <p:spPr bwMode="auto">
            <a:xfrm>
              <a:off x="5725643" y="3002066"/>
              <a:ext cx="105411" cy="177398"/>
            </a:xfrm>
            <a:custGeom>
              <a:avLst/>
              <a:gdLst/>
              <a:ahLst/>
              <a:cxnLst>
                <a:cxn ang="0">
                  <a:pos x="4" y="84"/>
                </a:cxn>
                <a:cxn ang="0">
                  <a:pos x="4" y="0"/>
                </a:cxn>
                <a:cxn ang="0">
                  <a:pos x="0" y="84"/>
                </a:cxn>
                <a:cxn ang="0">
                  <a:pos x="82" y="138"/>
                </a:cxn>
                <a:cxn ang="0">
                  <a:pos x="4" y="84"/>
                </a:cxn>
              </a:cxnLst>
              <a:rect l="0" t="0" r="r" b="b"/>
              <a:pathLst>
                <a:path w="82" h="138">
                  <a:moveTo>
                    <a:pt x="4" y="84"/>
                  </a:moveTo>
                  <a:lnTo>
                    <a:pt x="4" y="0"/>
                  </a:lnTo>
                  <a:lnTo>
                    <a:pt x="0" y="84"/>
                  </a:lnTo>
                  <a:lnTo>
                    <a:pt x="82" y="138"/>
                  </a:lnTo>
                  <a:lnTo>
                    <a:pt x="4" y="8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76" name="Freeform 3000"/>
            <p:cNvSpPr>
              <a:spLocks/>
            </p:cNvSpPr>
            <p:nvPr/>
          </p:nvSpPr>
          <p:spPr bwMode="auto">
            <a:xfrm>
              <a:off x="5725643" y="3102335"/>
              <a:ext cx="300806" cy="187682"/>
            </a:xfrm>
            <a:custGeom>
              <a:avLst/>
              <a:gdLst/>
              <a:ahLst/>
              <a:cxnLst>
                <a:cxn ang="0">
                  <a:pos x="110" y="146"/>
                </a:cxn>
                <a:cxn ang="0">
                  <a:pos x="132" y="102"/>
                </a:cxn>
                <a:cxn ang="0">
                  <a:pos x="182" y="128"/>
                </a:cxn>
                <a:cxn ang="0">
                  <a:pos x="224" y="72"/>
                </a:cxn>
                <a:cxn ang="0">
                  <a:pos x="234" y="0"/>
                </a:cxn>
                <a:cxn ang="0">
                  <a:pos x="222" y="72"/>
                </a:cxn>
                <a:cxn ang="0">
                  <a:pos x="182" y="124"/>
                </a:cxn>
                <a:cxn ang="0">
                  <a:pos x="132" y="96"/>
                </a:cxn>
                <a:cxn ang="0">
                  <a:pos x="110" y="138"/>
                </a:cxn>
                <a:cxn ang="0">
                  <a:pos x="82" y="60"/>
                </a:cxn>
                <a:cxn ang="0">
                  <a:pos x="0" y="6"/>
                </a:cxn>
                <a:cxn ang="0">
                  <a:pos x="80" y="64"/>
                </a:cxn>
                <a:cxn ang="0">
                  <a:pos x="110" y="146"/>
                </a:cxn>
              </a:cxnLst>
              <a:rect l="0" t="0" r="r" b="b"/>
              <a:pathLst>
                <a:path w="234" h="146">
                  <a:moveTo>
                    <a:pt x="110" y="146"/>
                  </a:moveTo>
                  <a:lnTo>
                    <a:pt x="132" y="102"/>
                  </a:lnTo>
                  <a:lnTo>
                    <a:pt x="182" y="128"/>
                  </a:lnTo>
                  <a:lnTo>
                    <a:pt x="224" y="72"/>
                  </a:lnTo>
                  <a:lnTo>
                    <a:pt x="234" y="0"/>
                  </a:lnTo>
                  <a:lnTo>
                    <a:pt x="222" y="72"/>
                  </a:lnTo>
                  <a:lnTo>
                    <a:pt x="182" y="124"/>
                  </a:lnTo>
                  <a:lnTo>
                    <a:pt x="132" y="96"/>
                  </a:lnTo>
                  <a:lnTo>
                    <a:pt x="110" y="138"/>
                  </a:lnTo>
                  <a:lnTo>
                    <a:pt x="82" y="60"/>
                  </a:lnTo>
                  <a:lnTo>
                    <a:pt x="0" y="6"/>
                  </a:lnTo>
                  <a:lnTo>
                    <a:pt x="80" y="64"/>
                  </a:lnTo>
                  <a:lnTo>
                    <a:pt x="110" y="14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77" name="Freeform 3001"/>
            <p:cNvSpPr>
              <a:spLocks/>
            </p:cNvSpPr>
            <p:nvPr/>
          </p:nvSpPr>
          <p:spPr bwMode="auto">
            <a:xfrm>
              <a:off x="6011023" y="2984069"/>
              <a:ext cx="35994" cy="210821"/>
            </a:xfrm>
            <a:custGeom>
              <a:avLst/>
              <a:gdLst/>
              <a:ahLst/>
              <a:cxnLst>
                <a:cxn ang="0">
                  <a:pos x="0" y="164"/>
                </a:cxn>
                <a:cxn ang="0">
                  <a:pos x="12" y="92"/>
                </a:cxn>
                <a:cxn ang="0">
                  <a:pos x="14" y="82"/>
                </a:cxn>
                <a:cxn ang="0">
                  <a:pos x="16" y="72"/>
                </a:cxn>
                <a:cxn ang="0">
                  <a:pos x="28" y="0"/>
                </a:cxn>
                <a:cxn ang="0">
                  <a:pos x="8" y="82"/>
                </a:cxn>
                <a:cxn ang="0">
                  <a:pos x="0" y="164"/>
                </a:cxn>
              </a:cxnLst>
              <a:rect l="0" t="0" r="r" b="b"/>
              <a:pathLst>
                <a:path w="28" h="164">
                  <a:moveTo>
                    <a:pt x="0" y="164"/>
                  </a:moveTo>
                  <a:lnTo>
                    <a:pt x="12" y="92"/>
                  </a:lnTo>
                  <a:lnTo>
                    <a:pt x="14" y="82"/>
                  </a:lnTo>
                  <a:lnTo>
                    <a:pt x="16" y="72"/>
                  </a:lnTo>
                  <a:lnTo>
                    <a:pt x="28" y="0"/>
                  </a:lnTo>
                  <a:lnTo>
                    <a:pt x="8" y="82"/>
                  </a:lnTo>
                  <a:lnTo>
                    <a:pt x="0" y="16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78" name="Freeform 3003"/>
            <p:cNvSpPr>
              <a:spLocks/>
            </p:cNvSpPr>
            <p:nvPr/>
          </p:nvSpPr>
          <p:spPr bwMode="auto">
            <a:xfrm>
              <a:off x="6026449" y="3076625"/>
              <a:ext cx="5142" cy="25710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4" y="0"/>
                </a:cxn>
                <a:cxn ang="0">
                  <a:pos x="2" y="10"/>
                </a:cxn>
                <a:cxn ang="0">
                  <a:pos x="0" y="20"/>
                </a:cxn>
              </a:cxnLst>
              <a:rect l="0" t="0" r="r" b="b"/>
              <a:pathLst>
                <a:path w="4" h="20">
                  <a:moveTo>
                    <a:pt x="0" y="20"/>
                  </a:moveTo>
                  <a:lnTo>
                    <a:pt x="4" y="0"/>
                  </a:lnTo>
                  <a:lnTo>
                    <a:pt x="2" y="1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79" name="Freeform 3004"/>
            <p:cNvSpPr>
              <a:spLocks/>
            </p:cNvSpPr>
            <p:nvPr/>
          </p:nvSpPr>
          <p:spPr bwMode="auto">
            <a:xfrm>
              <a:off x="6088153" y="3050915"/>
              <a:ext cx="133692" cy="77130"/>
            </a:xfrm>
            <a:custGeom>
              <a:avLst/>
              <a:gdLst/>
              <a:ahLst/>
              <a:cxnLst>
                <a:cxn ang="0">
                  <a:pos x="24" y="54"/>
                </a:cxn>
                <a:cxn ang="0">
                  <a:pos x="0" y="40"/>
                </a:cxn>
                <a:cxn ang="0">
                  <a:pos x="24" y="60"/>
                </a:cxn>
                <a:cxn ang="0">
                  <a:pos x="104" y="0"/>
                </a:cxn>
                <a:cxn ang="0">
                  <a:pos x="24" y="54"/>
                </a:cxn>
              </a:cxnLst>
              <a:rect l="0" t="0" r="r" b="b"/>
              <a:pathLst>
                <a:path w="104" h="60">
                  <a:moveTo>
                    <a:pt x="24" y="54"/>
                  </a:moveTo>
                  <a:lnTo>
                    <a:pt x="0" y="40"/>
                  </a:lnTo>
                  <a:lnTo>
                    <a:pt x="24" y="60"/>
                  </a:lnTo>
                  <a:lnTo>
                    <a:pt x="104" y="0"/>
                  </a:lnTo>
                  <a:lnTo>
                    <a:pt x="24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80" name="Freeform 3005"/>
            <p:cNvSpPr>
              <a:spLocks/>
            </p:cNvSpPr>
            <p:nvPr/>
          </p:nvSpPr>
          <p:spPr bwMode="auto">
            <a:xfrm>
              <a:off x="6257838" y="2878658"/>
              <a:ext cx="113124" cy="190253"/>
            </a:xfrm>
            <a:custGeom>
              <a:avLst/>
              <a:gdLst/>
              <a:ahLst/>
              <a:cxnLst>
                <a:cxn ang="0">
                  <a:pos x="0" y="148"/>
                </a:cxn>
                <a:cxn ang="0">
                  <a:pos x="52" y="42"/>
                </a:cxn>
                <a:cxn ang="0">
                  <a:pos x="88" y="0"/>
                </a:cxn>
                <a:cxn ang="0">
                  <a:pos x="50" y="40"/>
                </a:cxn>
                <a:cxn ang="0">
                  <a:pos x="0" y="148"/>
                </a:cxn>
              </a:cxnLst>
              <a:rect l="0" t="0" r="r" b="b"/>
              <a:pathLst>
                <a:path w="88" h="148">
                  <a:moveTo>
                    <a:pt x="0" y="148"/>
                  </a:moveTo>
                  <a:lnTo>
                    <a:pt x="52" y="42"/>
                  </a:lnTo>
                  <a:lnTo>
                    <a:pt x="88" y="0"/>
                  </a:lnTo>
                  <a:lnTo>
                    <a:pt x="50" y="40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81" name="Freeform 3006"/>
            <p:cNvSpPr>
              <a:spLocks/>
            </p:cNvSpPr>
            <p:nvPr/>
          </p:nvSpPr>
          <p:spPr bwMode="auto">
            <a:xfrm>
              <a:off x="6018736" y="3102335"/>
              <a:ext cx="100269" cy="61704"/>
            </a:xfrm>
            <a:custGeom>
              <a:avLst/>
              <a:gdLst/>
              <a:ahLst/>
              <a:cxnLst>
                <a:cxn ang="0">
                  <a:pos x="0" y="44"/>
                </a:cxn>
                <a:cxn ang="0">
                  <a:pos x="0" y="48"/>
                </a:cxn>
                <a:cxn ang="0">
                  <a:pos x="54" y="4"/>
                </a:cxn>
                <a:cxn ang="0">
                  <a:pos x="78" y="20"/>
                </a:cxn>
                <a:cxn ang="0">
                  <a:pos x="54" y="0"/>
                </a:cxn>
                <a:cxn ang="0">
                  <a:pos x="0" y="44"/>
                </a:cxn>
              </a:cxnLst>
              <a:rect l="0" t="0" r="r" b="b"/>
              <a:pathLst>
                <a:path w="78" h="48">
                  <a:moveTo>
                    <a:pt x="0" y="44"/>
                  </a:moveTo>
                  <a:lnTo>
                    <a:pt x="0" y="48"/>
                  </a:lnTo>
                  <a:lnTo>
                    <a:pt x="54" y="4"/>
                  </a:lnTo>
                  <a:lnTo>
                    <a:pt x="78" y="20"/>
                  </a:lnTo>
                  <a:lnTo>
                    <a:pt x="54" y="0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82" name="Freeform 3007"/>
            <p:cNvSpPr>
              <a:spLocks/>
            </p:cNvSpPr>
            <p:nvPr/>
          </p:nvSpPr>
          <p:spPr bwMode="auto">
            <a:xfrm>
              <a:off x="6119005" y="2932649"/>
              <a:ext cx="205679" cy="195395"/>
            </a:xfrm>
            <a:custGeom>
              <a:avLst/>
              <a:gdLst/>
              <a:ahLst/>
              <a:cxnLst>
                <a:cxn ang="0">
                  <a:pos x="80" y="92"/>
                </a:cxn>
                <a:cxn ang="0">
                  <a:pos x="0" y="152"/>
                </a:cxn>
                <a:cxn ang="0">
                  <a:pos x="80" y="96"/>
                </a:cxn>
                <a:cxn ang="0">
                  <a:pos x="110" y="110"/>
                </a:cxn>
                <a:cxn ang="0">
                  <a:pos x="160" y="0"/>
                </a:cxn>
                <a:cxn ang="0">
                  <a:pos x="108" y="106"/>
                </a:cxn>
                <a:cxn ang="0">
                  <a:pos x="80" y="92"/>
                </a:cxn>
              </a:cxnLst>
              <a:rect l="0" t="0" r="r" b="b"/>
              <a:pathLst>
                <a:path w="160" h="152">
                  <a:moveTo>
                    <a:pt x="80" y="92"/>
                  </a:moveTo>
                  <a:lnTo>
                    <a:pt x="0" y="152"/>
                  </a:lnTo>
                  <a:lnTo>
                    <a:pt x="80" y="96"/>
                  </a:lnTo>
                  <a:lnTo>
                    <a:pt x="110" y="110"/>
                  </a:lnTo>
                  <a:lnTo>
                    <a:pt x="160" y="0"/>
                  </a:lnTo>
                  <a:lnTo>
                    <a:pt x="108" y="106"/>
                  </a:lnTo>
                  <a:lnTo>
                    <a:pt x="80" y="9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83" name="Freeform 3008"/>
            <p:cNvSpPr>
              <a:spLocks/>
            </p:cNvSpPr>
            <p:nvPr/>
          </p:nvSpPr>
          <p:spPr bwMode="auto">
            <a:xfrm>
              <a:off x="6365820" y="2860662"/>
              <a:ext cx="5142" cy="1799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14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4" h="14">
                  <a:moveTo>
                    <a:pt x="0" y="2"/>
                  </a:moveTo>
                  <a:lnTo>
                    <a:pt x="4" y="14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84" name="Freeform 3010"/>
            <p:cNvSpPr>
              <a:spLocks/>
            </p:cNvSpPr>
            <p:nvPr/>
          </p:nvSpPr>
          <p:spPr bwMode="auto">
            <a:xfrm>
              <a:off x="6000739" y="2480155"/>
              <a:ext cx="370223" cy="673600"/>
            </a:xfrm>
            <a:custGeom>
              <a:avLst/>
              <a:gdLst/>
              <a:ahLst/>
              <a:cxnLst>
                <a:cxn ang="0">
                  <a:pos x="92" y="498"/>
                </a:cxn>
                <a:cxn ang="0">
                  <a:pos x="172" y="444"/>
                </a:cxn>
                <a:cxn ang="0">
                  <a:pos x="200" y="458"/>
                </a:cxn>
                <a:cxn ang="0">
                  <a:pos x="250" y="350"/>
                </a:cxn>
                <a:cxn ang="0">
                  <a:pos x="288" y="310"/>
                </a:cxn>
                <a:cxn ang="0">
                  <a:pos x="284" y="298"/>
                </a:cxn>
                <a:cxn ang="0">
                  <a:pos x="284" y="298"/>
                </a:cxn>
                <a:cxn ang="0">
                  <a:pos x="284" y="296"/>
                </a:cxn>
                <a:cxn ang="0">
                  <a:pos x="216" y="0"/>
                </a:cxn>
                <a:cxn ang="0">
                  <a:pos x="26" y="6"/>
                </a:cxn>
                <a:cxn ang="0">
                  <a:pos x="0" y="28"/>
                </a:cxn>
                <a:cxn ang="0">
                  <a:pos x="38" y="392"/>
                </a:cxn>
                <a:cxn ang="0">
                  <a:pos x="24" y="464"/>
                </a:cxn>
                <a:cxn ang="0">
                  <a:pos x="20" y="484"/>
                </a:cxn>
                <a:cxn ang="0">
                  <a:pos x="14" y="524"/>
                </a:cxn>
                <a:cxn ang="0">
                  <a:pos x="68" y="484"/>
                </a:cxn>
                <a:cxn ang="0">
                  <a:pos x="92" y="498"/>
                </a:cxn>
              </a:cxnLst>
              <a:rect l="0" t="0" r="r" b="b"/>
              <a:pathLst>
                <a:path w="288" h="524">
                  <a:moveTo>
                    <a:pt x="92" y="498"/>
                  </a:moveTo>
                  <a:lnTo>
                    <a:pt x="172" y="444"/>
                  </a:lnTo>
                  <a:lnTo>
                    <a:pt x="200" y="458"/>
                  </a:lnTo>
                  <a:lnTo>
                    <a:pt x="250" y="350"/>
                  </a:lnTo>
                  <a:lnTo>
                    <a:pt x="288" y="310"/>
                  </a:lnTo>
                  <a:lnTo>
                    <a:pt x="284" y="298"/>
                  </a:lnTo>
                  <a:lnTo>
                    <a:pt x="284" y="298"/>
                  </a:lnTo>
                  <a:lnTo>
                    <a:pt x="284" y="296"/>
                  </a:lnTo>
                  <a:lnTo>
                    <a:pt x="216" y="0"/>
                  </a:lnTo>
                  <a:lnTo>
                    <a:pt x="26" y="6"/>
                  </a:lnTo>
                  <a:lnTo>
                    <a:pt x="0" y="28"/>
                  </a:lnTo>
                  <a:lnTo>
                    <a:pt x="38" y="392"/>
                  </a:lnTo>
                  <a:lnTo>
                    <a:pt x="24" y="464"/>
                  </a:lnTo>
                  <a:lnTo>
                    <a:pt x="20" y="484"/>
                  </a:lnTo>
                  <a:lnTo>
                    <a:pt x="14" y="524"/>
                  </a:lnTo>
                  <a:lnTo>
                    <a:pt x="68" y="484"/>
                  </a:lnTo>
                  <a:lnTo>
                    <a:pt x="92" y="49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85" name="Freeform 3011"/>
            <p:cNvSpPr>
              <a:spLocks/>
            </p:cNvSpPr>
            <p:nvPr/>
          </p:nvSpPr>
          <p:spPr bwMode="auto">
            <a:xfrm>
              <a:off x="6090724" y="3583110"/>
              <a:ext cx="41136" cy="4499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" y="350"/>
                </a:cxn>
                <a:cxn ang="0">
                  <a:pos x="8" y="68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32" h="350">
                  <a:moveTo>
                    <a:pt x="0" y="0"/>
                  </a:moveTo>
                  <a:lnTo>
                    <a:pt x="32" y="350"/>
                  </a:lnTo>
                  <a:lnTo>
                    <a:pt x="8" y="68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86" name="Freeform 3012"/>
            <p:cNvSpPr>
              <a:spLocks/>
            </p:cNvSpPr>
            <p:nvPr/>
          </p:nvSpPr>
          <p:spPr bwMode="auto">
            <a:xfrm>
              <a:off x="5733356" y="3580539"/>
              <a:ext cx="421643" cy="753300"/>
            </a:xfrm>
            <a:custGeom>
              <a:avLst/>
              <a:gdLst/>
              <a:ahLst/>
              <a:cxnLst>
                <a:cxn ang="0">
                  <a:pos x="278" y="0"/>
                </a:cxn>
                <a:cxn ang="0">
                  <a:pos x="74" y="22"/>
                </a:cxn>
                <a:cxn ang="0">
                  <a:pos x="0" y="240"/>
                </a:cxn>
                <a:cxn ang="0">
                  <a:pos x="38" y="372"/>
                </a:cxn>
                <a:cxn ang="0">
                  <a:pos x="6" y="522"/>
                </a:cxn>
                <a:cxn ang="0">
                  <a:pos x="178" y="508"/>
                </a:cxn>
                <a:cxn ang="0">
                  <a:pos x="216" y="586"/>
                </a:cxn>
                <a:cxn ang="0">
                  <a:pos x="298" y="560"/>
                </a:cxn>
                <a:cxn ang="0">
                  <a:pos x="328" y="560"/>
                </a:cxn>
                <a:cxn ang="0">
                  <a:pos x="310" y="352"/>
                </a:cxn>
                <a:cxn ang="0">
                  <a:pos x="278" y="2"/>
                </a:cxn>
                <a:cxn ang="0">
                  <a:pos x="280" y="2"/>
                </a:cxn>
                <a:cxn ang="0">
                  <a:pos x="286" y="70"/>
                </a:cxn>
                <a:cxn ang="0">
                  <a:pos x="280" y="0"/>
                </a:cxn>
                <a:cxn ang="0">
                  <a:pos x="278" y="0"/>
                </a:cxn>
              </a:cxnLst>
              <a:rect l="0" t="0" r="r" b="b"/>
              <a:pathLst>
                <a:path w="328" h="586">
                  <a:moveTo>
                    <a:pt x="278" y="0"/>
                  </a:moveTo>
                  <a:lnTo>
                    <a:pt x="74" y="22"/>
                  </a:lnTo>
                  <a:lnTo>
                    <a:pt x="0" y="240"/>
                  </a:lnTo>
                  <a:lnTo>
                    <a:pt x="38" y="372"/>
                  </a:lnTo>
                  <a:lnTo>
                    <a:pt x="6" y="522"/>
                  </a:lnTo>
                  <a:lnTo>
                    <a:pt x="178" y="508"/>
                  </a:lnTo>
                  <a:lnTo>
                    <a:pt x="216" y="586"/>
                  </a:lnTo>
                  <a:lnTo>
                    <a:pt x="298" y="560"/>
                  </a:lnTo>
                  <a:lnTo>
                    <a:pt x="328" y="560"/>
                  </a:lnTo>
                  <a:lnTo>
                    <a:pt x="310" y="352"/>
                  </a:lnTo>
                  <a:lnTo>
                    <a:pt x="278" y="2"/>
                  </a:lnTo>
                  <a:lnTo>
                    <a:pt x="280" y="2"/>
                  </a:lnTo>
                  <a:lnTo>
                    <a:pt x="286" y="70"/>
                  </a:lnTo>
                  <a:lnTo>
                    <a:pt x="280" y="0"/>
                  </a:lnTo>
                  <a:lnTo>
                    <a:pt x="27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87" name="Freeform 3013"/>
            <p:cNvSpPr>
              <a:spLocks/>
            </p:cNvSpPr>
            <p:nvPr/>
          </p:nvSpPr>
          <p:spPr bwMode="auto">
            <a:xfrm>
              <a:off x="6131860" y="4033033"/>
              <a:ext cx="25710" cy="267383"/>
            </a:xfrm>
            <a:custGeom>
              <a:avLst/>
              <a:gdLst/>
              <a:ahLst/>
              <a:cxnLst>
                <a:cxn ang="0">
                  <a:pos x="20" y="208"/>
                </a:cxn>
                <a:cxn ang="0">
                  <a:pos x="0" y="0"/>
                </a:cxn>
                <a:cxn ang="0">
                  <a:pos x="18" y="208"/>
                </a:cxn>
                <a:cxn ang="0">
                  <a:pos x="20" y="208"/>
                </a:cxn>
              </a:cxnLst>
              <a:rect l="0" t="0" r="r" b="b"/>
              <a:pathLst>
                <a:path w="20" h="208">
                  <a:moveTo>
                    <a:pt x="20" y="208"/>
                  </a:moveTo>
                  <a:lnTo>
                    <a:pt x="0" y="0"/>
                  </a:lnTo>
                  <a:lnTo>
                    <a:pt x="18" y="208"/>
                  </a:lnTo>
                  <a:lnTo>
                    <a:pt x="20" y="20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88" name="Freeform 3014"/>
            <p:cNvSpPr>
              <a:spLocks/>
            </p:cNvSpPr>
            <p:nvPr/>
          </p:nvSpPr>
          <p:spPr bwMode="auto">
            <a:xfrm>
              <a:off x="6093295" y="3534261"/>
              <a:ext cx="473062" cy="766155"/>
            </a:xfrm>
            <a:custGeom>
              <a:avLst/>
              <a:gdLst/>
              <a:ahLst/>
              <a:cxnLst>
                <a:cxn ang="0">
                  <a:pos x="368" y="466"/>
                </a:cxn>
                <a:cxn ang="0">
                  <a:pos x="350" y="330"/>
                </a:cxn>
                <a:cxn ang="0">
                  <a:pos x="226" y="0"/>
                </a:cxn>
                <a:cxn ang="0">
                  <a:pos x="0" y="36"/>
                </a:cxn>
                <a:cxn ang="0">
                  <a:pos x="6" y="106"/>
                </a:cxn>
                <a:cxn ang="0">
                  <a:pos x="52" y="596"/>
                </a:cxn>
                <a:cxn ang="0">
                  <a:pos x="96" y="596"/>
                </a:cxn>
                <a:cxn ang="0">
                  <a:pos x="134" y="580"/>
                </a:cxn>
                <a:cxn ang="0">
                  <a:pos x="90" y="490"/>
                </a:cxn>
                <a:cxn ang="0">
                  <a:pos x="368" y="466"/>
                </a:cxn>
              </a:cxnLst>
              <a:rect l="0" t="0" r="r" b="b"/>
              <a:pathLst>
                <a:path w="368" h="596">
                  <a:moveTo>
                    <a:pt x="368" y="466"/>
                  </a:moveTo>
                  <a:lnTo>
                    <a:pt x="350" y="330"/>
                  </a:lnTo>
                  <a:lnTo>
                    <a:pt x="226" y="0"/>
                  </a:lnTo>
                  <a:lnTo>
                    <a:pt x="0" y="36"/>
                  </a:lnTo>
                  <a:lnTo>
                    <a:pt x="6" y="106"/>
                  </a:lnTo>
                  <a:lnTo>
                    <a:pt x="52" y="596"/>
                  </a:lnTo>
                  <a:lnTo>
                    <a:pt x="96" y="596"/>
                  </a:lnTo>
                  <a:lnTo>
                    <a:pt x="134" y="580"/>
                  </a:lnTo>
                  <a:lnTo>
                    <a:pt x="90" y="490"/>
                  </a:lnTo>
                  <a:lnTo>
                    <a:pt x="368" y="4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89" name="Freeform 3015"/>
            <p:cNvSpPr>
              <a:spLocks/>
            </p:cNvSpPr>
            <p:nvPr/>
          </p:nvSpPr>
          <p:spPr bwMode="auto">
            <a:xfrm>
              <a:off x="6689765" y="3521406"/>
              <a:ext cx="69417" cy="48849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52" y="4"/>
                </a:cxn>
                <a:cxn ang="0">
                  <a:pos x="52" y="38"/>
                </a:cxn>
                <a:cxn ang="0">
                  <a:pos x="54" y="0"/>
                </a:cxn>
                <a:cxn ang="0">
                  <a:pos x="0" y="6"/>
                </a:cxn>
              </a:cxnLst>
              <a:rect l="0" t="0" r="r" b="b"/>
              <a:pathLst>
                <a:path w="54" h="38">
                  <a:moveTo>
                    <a:pt x="0" y="6"/>
                  </a:moveTo>
                  <a:lnTo>
                    <a:pt x="52" y="4"/>
                  </a:lnTo>
                  <a:lnTo>
                    <a:pt x="52" y="38"/>
                  </a:lnTo>
                  <a:lnTo>
                    <a:pt x="54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90" name="Freeform 3016"/>
            <p:cNvSpPr>
              <a:spLocks/>
            </p:cNvSpPr>
            <p:nvPr/>
          </p:nvSpPr>
          <p:spPr bwMode="auto">
            <a:xfrm>
              <a:off x="6689765" y="3475128"/>
              <a:ext cx="69417" cy="53991"/>
            </a:xfrm>
            <a:custGeom>
              <a:avLst/>
              <a:gdLst/>
              <a:ahLst/>
              <a:cxnLst>
                <a:cxn ang="0">
                  <a:pos x="6" y="40"/>
                </a:cxn>
                <a:cxn ang="0">
                  <a:pos x="22" y="0"/>
                </a:cxn>
                <a:cxn ang="0">
                  <a:pos x="0" y="42"/>
                </a:cxn>
                <a:cxn ang="0">
                  <a:pos x="54" y="36"/>
                </a:cxn>
                <a:cxn ang="0">
                  <a:pos x="6" y="40"/>
                </a:cxn>
              </a:cxnLst>
              <a:rect l="0" t="0" r="r" b="b"/>
              <a:pathLst>
                <a:path w="54" h="42">
                  <a:moveTo>
                    <a:pt x="6" y="40"/>
                  </a:moveTo>
                  <a:lnTo>
                    <a:pt x="22" y="0"/>
                  </a:lnTo>
                  <a:lnTo>
                    <a:pt x="0" y="42"/>
                  </a:lnTo>
                  <a:lnTo>
                    <a:pt x="54" y="36"/>
                  </a:lnTo>
                  <a:lnTo>
                    <a:pt x="6" y="4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91" name="Freeform 3017"/>
            <p:cNvSpPr>
              <a:spLocks/>
            </p:cNvSpPr>
            <p:nvPr/>
          </p:nvSpPr>
          <p:spPr bwMode="auto">
            <a:xfrm>
              <a:off x="6756610" y="3521406"/>
              <a:ext cx="339371" cy="33422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38"/>
                </a:cxn>
                <a:cxn ang="0">
                  <a:pos x="264" y="260"/>
                </a:cxn>
                <a:cxn ang="0">
                  <a:pos x="2" y="36"/>
                </a:cxn>
                <a:cxn ang="0">
                  <a:pos x="2" y="0"/>
                </a:cxn>
              </a:cxnLst>
              <a:rect l="0" t="0" r="r" b="b"/>
              <a:pathLst>
                <a:path w="264" h="260">
                  <a:moveTo>
                    <a:pt x="2" y="0"/>
                  </a:moveTo>
                  <a:lnTo>
                    <a:pt x="0" y="38"/>
                  </a:lnTo>
                  <a:lnTo>
                    <a:pt x="264" y="260"/>
                  </a:lnTo>
                  <a:lnTo>
                    <a:pt x="2" y="36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92" name="Freeform 3018"/>
            <p:cNvSpPr>
              <a:spLocks/>
            </p:cNvSpPr>
            <p:nvPr/>
          </p:nvSpPr>
          <p:spPr bwMode="auto">
            <a:xfrm>
              <a:off x="6689765" y="3457131"/>
              <a:ext cx="35994" cy="71988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2" y="2"/>
                </a:cxn>
                <a:cxn ang="0">
                  <a:pos x="0" y="56"/>
                </a:cxn>
                <a:cxn ang="0">
                  <a:pos x="22" y="14"/>
                </a:cxn>
                <a:cxn ang="0">
                  <a:pos x="28" y="0"/>
                </a:cxn>
              </a:cxnLst>
              <a:rect l="0" t="0" r="r" b="b"/>
              <a:pathLst>
                <a:path w="28" h="56">
                  <a:moveTo>
                    <a:pt x="28" y="0"/>
                  </a:moveTo>
                  <a:lnTo>
                    <a:pt x="22" y="2"/>
                  </a:lnTo>
                  <a:lnTo>
                    <a:pt x="0" y="56"/>
                  </a:lnTo>
                  <a:lnTo>
                    <a:pt x="22" y="14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93" name="Freeform 3019"/>
            <p:cNvSpPr>
              <a:spLocks/>
            </p:cNvSpPr>
            <p:nvPr/>
          </p:nvSpPr>
          <p:spPr bwMode="auto">
            <a:xfrm>
              <a:off x="6697478" y="3369718"/>
              <a:ext cx="563047" cy="485917"/>
            </a:xfrm>
            <a:custGeom>
              <a:avLst/>
              <a:gdLst/>
              <a:ahLst/>
              <a:cxnLst>
                <a:cxn ang="0">
                  <a:pos x="0" y="122"/>
                </a:cxn>
                <a:cxn ang="0">
                  <a:pos x="48" y="118"/>
                </a:cxn>
                <a:cxn ang="0">
                  <a:pos x="48" y="154"/>
                </a:cxn>
                <a:cxn ang="0">
                  <a:pos x="310" y="378"/>
                </a:cxn>
                <a:cxn ang="0">
                  <a:pos x="422" y="176"/>
                </a:cxn>
                <a:cxn ang="0">
                  <a:pos x="438" y="104"/>
                </a:cxn>
                <a:cxn ang="0">
                  <a:pos x="306" y="16"/>
                </a:cxn>
                <a:cxn ang="0">
                  <a:pos x="224" y="32"/>
                </a:cxn>
                <a:cxn ang="0">
                  <a:pos x="194" y="0"/>
                </a:cxn>
                <a:cxn ang="0">
                  <a:pos x="24" y="66"/>
                </a:cxn>
                <a:cxn ang="0">
                  <a:pos x="16" y="82"/>
                </a:cxn>
                <a:cxn ang="0">
                  <a:pos x="0" y="122"/>
                </a:cxn>
              </a:cxnLst>
              <a:rect l="0" t="0" r="r" b="b"/>
              <a:pathLst>
                <a:path w="438" h="378">
                  <a:moveTo>
                    <a:pt x="0" y="122"/>
                  </a:moveTo>
                  <a:lnTo>
                    <a:pt x="48" y="118"/>
                  </a:lnTo>
                  <a:lnTo>
                    <a:pt x="48" y="154"/>
                  </a:lnTo>
                  <a:lnTo>
                    <a:pt x="310" y="378"/>
                  </a:lnTo>
                  <a:lnTo>
                    <a:pt x="422" y="176"/>
                  </a:lnTo>
                  <a:lnTo>
                    <a:pt x="438" y="104"/>
                  </a:lnTo>
                  <a:lnTo>
                    <a:pt x="306" y="16"/>
                  </a:lnTo>
                  <a:lnTo>
                    <a:pt x="224" y="32"/>
                  </a:lnTo>
                  <a:lnTo>
                    <a:pt x="194" y="0"/>
                  </a:lnTo>
                  <a:lnTo>
                    <a:pt x="24" y="66"/>
                  </a:lnTo>
                  <a:lnTo>
                    <a:pt x="16" y="82"/>
                  </a:lnTo>
                  <a:lnTo>
                    <a:pt x="0" y="12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94" name="Freeform 3020"/>
            <p:cNvSpPr>
              <a:spLocks/>
            </p:cNvSpPr>
            <p:nvPr/>
          </p:nvSpPr>
          <p:spPr bwMode="auto">
            <a:xfrm>
              <a:off x="6574070" y="4087024"/>
              <a:ext cx="411359" cy="107982"/>
            </a:xfrm>
            <a:custGeom>
              <a:avLst/>
              <a:gdLst/>
              <a:ahLst/>
              <a:cxnLst>
                <a:cxn ang="0">
                  <a:pos x="278" y="42"/>
                </a:cxn>
                <a:cxn ang="0">
                  <a:pos x="320" y="56"/>
                </a:cxn>
                <a:cxn ang="0">
                  <a:pos x="314" y="0"/>
                </a:cxn>
                <a:cxn ang="0">
                  <a:pos x="314" y="48"/>
                </a:cxn>
                <a:cxn ang="0">
                  <a:pos x="280" y="36"/>
                </a:cxn>
                <a:cxn ang="0">
                  <a:pos x="18" y="78"/>
                </a:cxn>
                <a:cxn ang="0">
                  <a:pos x="0" y="54"/>
                </a:cxn>
                <a:cxn ang="0">
                  <a:pos x="18" y="84"/>
                </a:cxn>
                <a:cxn ang="0">
                  <a:pos x="278" y="42"/>
                </a:cxn>
              </a:cxnLst>
              <a:rect l="0" t="0" r="r" b="b"/>
              <a:pathLst>
                <a:path w="320" h="84">
                  <a:moveTo>
                    <a:pt x="278" y="42"/>
                  </a:moveTo>
                  <a:lnTo>
                    <a:pt x="320" y="56"/>
                  </a:lnTo>
                  <a:lnTo>
                    <a:pt x="314" y="0"/>
                  </a:lnTo>
                  <a:lnTo>
                    <a:pt x="314" y="48"/>
                  </a:lnTo>
                  <a:lnTo>
                    <a:pt x="280" y="36"/>
                  </a:lnTo>
                  <a:lnTo>
                    <a:pt x="18" y="78"/>
                  </a:lnTo>
                  <a:lnTo>
                    <a:pt x="0" y="54"/>
                  </a:lnTo>
                  <a:lnTo>
                    <a:pt x="18" y="84"/>
                  </a:lnTo>
                  <a:lnTo>
                    <a:pt x="278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95" name="Freeform 3021"/>
            <p:cNvSpPr>
              <a:spLocks/>
            </p:cNvSpPr>
            <p:nvPr/>
          </p:nvSpPr>
          <p:spPr bwMode="auto">
            <a:xfrm>
              <a:off x="6977716" y="4084453"/>
              <a:ext cx="89985" cy="514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70" y="4"/>
                </a:cxn>
                <a:cxn ang="0">
                  <a:pos x="70" y="0"/>
                </a:cxn>
                <a:cxn ang="0">
                  <a:pos x="0" y="2"/>
                </a:cxn>
              </a:cxnLst>
              <a:rect l="0" t="0" r="r" b="b"/>
              <a:pathLst>
                <a:path w="70" h="4">
                  <a:moveTo>
                    <a:pt x="0" y="2"/>
                  </a:moveTo>
                  <a:lnTo>
                    <a:pt x="70" y="4"/>
                  </a:lnTo>
                  <a:lnTo>
                    <a:pt x="7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96" name="Freeform 3022"/>
            <p:cNvSpPr>
              <a:spLocks/>
            </p:cNvSpPr>
            <p:nvPr/>
          </p:nvSpPr>
          <p:spPr bwMode="auto">
            <a:xfrm>
              <a:off x="6977716" y="4087024"/>
              <a:ext cx="89985" cy="71988"/>
            </a:xfrm>
            <a:custGeom>
              <a:avLst/>
              <a:gdLst/>
              <a:ahLst/>
              <a:cxnLst>
                <a:cxn ang="0">
                  <a:pos x="6" y="56"/>
                </a:cxn>
                <a:cxn ang="0">
                  <a:pos x="6" y="6"/>
                </a:cxn>
                <a:cxn ang="0">
                  <a:pos x="70" y="6"/>
                </a:cxn>
                <a:cxn ang="0">
                  <a:pos x="70" y="2"/>
                </a:cxn>
                <a:cxn ang="0">
                  <a:pos x="0" y="0"/>
                </a:cxn>
                <a:cxn ang="0">
                  <a:pos x="6" y="56"/>
                </a:cxn>
              </a:cxnLst>
              <a:rect l="0" t="0" r="r" b="b"/>
              <a:pathLst>
                <a:path w="70" h="56">
                  <a:moveTo>
                    <a:pt x="6" y="56"/>
                  </a:moveTo>
                  <a:lnTo>
                    <a:pt x="6" y="6"/>
                  </a:lnTo>
                  <a:lnTo>
                    <a:pt x="70" y="6"/>
                  </a:lnTo>
                  <a:lnTo>
                    <a:pt x="70" y="2"/>
                  </a:lnTo>
                  <a:lnTo>
                    <a:pt x="0" y="0"/>
                  </a:lnTo>
                  <a:lnTo>
                    <a:pt x="6" y="5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97" name="Freeform 3023"/>
            <p:cNvSpPr>
              <a:spLocks/>
            </p:cNvSpPr>
            <p:nvPr/>
          </p:nvSpPr>
          <p:spPr bwMode="auto">
            <a:xfrm>
              <a:off x="6566357" y="4141015"/>
              <a:ext cx="30852" cy="53991"/>
            </a:xfrm>
            <a:custGeom>
              <a:avLst/>
              <a:gdLst/>
              <a:ahLst/>
              <a:cxnLst>
                <a:cxn ang="0">
                  <a:pos x="24" y="42"/>
                </a:cxn>
                <a:cxn ang="0">
                  <a:pos x="6" y="12"/>
                </a:cxn>
                <a:cxn ang="0">
                  <a:pos x="0" y="0"/>
                </a:cxn>
                <a:cxn ang="0">
                  <a:pos x="2" y="12"/>
                </a:cxn>
                <a:cxn ang="0">
                  <a:pos x="24" y="42"/>
                </a:cxn>
              </a:cxnLst>
              <a:rect l="0" t="0" r="r" b="b"/>
              <a:pathLst>
                <a:path w="24" h="42">
                  <a:moveTo>
                    <a:pt x="24" y="42"/>
                  </a:moveTo>
                  <a:lnTo>
                    <a:pt x="6" y="12"/>
                  </a:lnTo>
                  <a:lnTo>
                    <a:pt x="0" y="0"/>
                  </a:lnTo>
                  <a:lnTo>
                    <a:pt x="2" y="12"/>
                  </a:lnTo>
                  <a:lnTo>
                    <a:pt x="24" y="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98" name="Freeform 3024"/>
            <p:cNvSpPr>
              <a:spLocks/>
            </p:cNvSpPr>
            <p:nvPr/>
          </p:nvSpPr>
          <p:spPr bwMode="auto">
            <a:xfrm>
              <a:off x="6214131" y="4166725"/>
              <a:ext cx="56562" cy="110553"/>
            </a:xfrm>
            <a:custGeom>
              <a:avLst/>
              <a:gdLst/>
              <a:ahLst/>
              <a:cxnLst>
                <a:cxn ang="0">
                  <a:pos x="44" y="86"/>
                </a:cxn>
                <a:cxn ang="0">
                  <a:pos x="44" y="86"/>
                </a:cxn>
                <a:cxn ang="0">
                  <a:pos x="0" y="0"/>
                </a:cxn>
                <a:cxn ang="0">
                  <a:pos x="44" y="86"/>
                </a:cxn>
              </a:cxnLst>
              <a:rect l="0" t="0" r="r" b="b"/>
              <a:pathLst>
                <a:path w="44" h="86">
                  <a:moveTo>
                    <a:pt x="44" y="86"/>
                  </a:moveTo>
                  <a:lnTo>
                    <a:pt x="44" y="86"/>
                  </a:lnTo>
                  <a:lnTo>
                    <a:pt x="0" y="0"/>
                  </a:lnTo>
                  <a:lnTo>
                    <a:pt x="44" y="8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199" name="Freeform 3025"/>
            <p:cNvSpPr>
              <a:spLocks/>
            </p:cNvSpPr>
            <p:nvPr/>
          </p:nvSpPr>
          <p:spPr bwMode="auto">
            <a:xfrm>
              <a:off x="6391530" y="3454560"/>
              <a:ext cx="701881" cy="732732"/>
            </a:xfrm>
            <a:custGeom>
              <a:avLst/>
              <a:gdLst/>
              <a:ahLst/>
              <a:cxnLst>
                <a:cxn ang="0">
                  <a:pos x="422" y="528"/>
                </a:cxn>
                <a:cxn ang="0">
                  <a:pos x="456" y="540"/>
                </a:cxn>
                <a:cxn ang="0">
                  <a:pos x="456" y="492"/>
                </a:cxn>
                <a:cxn ang="0">
                  <a:pos x="526" y="490"/>
                </a:cxn>
                <a:cxn ang="0">
                  <a:pos x="526" y="494"/>
                </a:cxn>
                <a:cxn ang="0">
                  <a:pos x="526" y="494"/>
                </a:cxn>
                <a:cxn ang="0">
                  <a:pos x="512" y="378"/>
                </a:cxn>
                <a:cxn ang="0">
                  <a:pos x="546" y="314"/>
                </a:cxn>
                <a:cxn ang="0">
                  <a:pos x="284" y="90"/>
                </a:cxn>
                <a:cxn ang="0">
                  <a:pos x="284" y="56"/>
                </a:cxn>
                <a:cxn ang="0">
                  <a:pos x="232" y="58"/>
                </a:cxn>
                <a:cxn ang="0">
                  <a:pos x="254" y="4"/>
                </a:cxn>
                <a:cxn ang="0">
                  <a:pos x="260" y="2"/>
                </a:cxn>
                <a:cxn ang="0">
                  <a:pos x="254" y="16"/>
                </a:cxn>
                <a:cxn ang="0">
                  <a:pos x="262" y="0"/>
                </a:cxn>
                <a:cxn ang="0">
                  <a:pos x="182" y="30"/>
                </a:cxn>
                <a:cxn ang="0">
                  <a:pos x="0" y="60"/>
                </a:cxn>
                <a:cxn ang="0">
                  <a:pos x="120" y="390"/>
                </a:cxn>
                <a:cxn ang="0">
                  <a:pos x="142" y="546"/>
                </a:cxn>
                <a:cxn ang="0">
                  <a:pos x="160" y="570"/>
                </a:cxn>
                <a:cxn ang="0">
                  <a:pos x="422" y="528"/>
                </a:cxn>
              </a:cxnLst>
              <a:rect l="0" t="0" r="r" b="b"/>
              <a:pathLst>
                <a:path w="546" h="570">
                  <a:moveTo>
                    <a:pt x="422" y="528"/>
                  </a:moveTo>
                  <a:lnTo>
                    <a:pt x="456" y="540"/>
                  </a:lnTo>
                  <a:lnTo>
                    <a:pt x="456" y="492"/>
                  </a:lnTo>
                  <a:lnTo>
                    <a:pt x="526" y="490"/>
                  </a:lnTo>
                  <a:lnTo>
                    <a:pt x="526" y="494"/>
                  </a:lnTo>
                  <a:lnTo>
                    <a:pt x="526" y="494"/>
                  </a:lnTo>
                  <a:lnTo>
                    <a:pt x="512" y="378"/>
                  </a:lnTo>
                  <a:lnTo>
                    <a:pt x="546" y="314"/>
                  </a:lnTo>
                  <a:lnTo>
                    <a:pt x="284" y="90"/>
                  </a:lnTo>
                  <a:lnTo>
                    <a:pt x="284" y="56"/>
                  </a:lnTo>
                  <a:lnTo>
                    <a:pt x="232" y="58"/>
                  </a:lnTo>
                  <a:lnTo>
                    <a:pt x="254" y="4"/>
                  </a:lnTo>
                  <a:lnTo>
                    <a:pt x="260" y="2"/>
                  </a:lnTo>
                  <a:lnTo>
                    <a:pt x="254" y="16"/>
                  </a:lnTo>
                  <a:lnTo>
                    <a:pt x="262" y="0"/>
                  </a:lnTo>
                  <a:lnTo>
                    <a:pt x="182" y="30"/>
                  </a:lnTo>
                  <a:lnTo>
                    <a:pt x="0" y="60"/>
                  </a:lnTo>
                  <a:lnTo>
                    <a:pt x="120" y="390"/>
                  </a:lnTo>
                  <a:lnTo>
                    <a:pt x="142" y="546"/>
                  </a:lnTo>
                  <a:lnTo>
                    <a:pt x="160" y="570"/>
                  </a:lnTo>
                  <a:lnTo>
                    <a:pt x="422" y="52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00" name="Freeform 3026"/>
            <p:cNvSpPr>
              <a:spLocks/>
            </p:cNvSpPr>
            <p:nvPr/>
          </p:nvSpPr>
          <p:spPr bwMode="auto">
            <a:xfrm>
              <a:off x="6214131" y="4089595"/>
              <a:ext cx="1190369" cy="856140"/>
            </a:xfrm>
            <a:custGeom>
              <a:avLst/>
              <a:gdLst/>
              <a:ahLst/>
              <a:cxnLst>
                <a:cxn ang="0">
                  <a:pos x="896" y="342"/>
                </a:cxn>
                <a:cxn ang="0">
                  <a:pos x="808" y="232"/>
                </a:cxn>
                <a:cxn ang="0">
                  <a:pos x="808" y="182"/>
                </a:cxn>
                <a:cxn ang="0">
                  <a:pos x="668" y="20"/>
                </a:cxn>
                <a:cxn ang="0">
                  <a:pos x="664" y="0"/>
                </a:cxn>
                <a:cxn ang="0">
                  <a:pos x="664" y="0"/>
                </a:cxn>
                <a:cxn ang="0">
                  <a:pos x="664" y="4"/>
                </a:cxn>
                <a:cxn ang="0">
                  <a:pos x="600" y="4"/>
                </a:cxn>
                <a:cxn ang="0">
                  <a:pos x="600" y="54"/>
                </a:cxn>
                <a:cxn ang="0">
                  <a:pos x="558" y="40"/>
                </a:cxn>
                <a:cxn ang="0">
                  <a:pos x="298" y="82"/>
                </a:cxn>
                <a:cxn ang="0">
                  <a:pos x="276" y="52"/>
                </a:cxn>
                <a:cxn ang="0">
                  <a:pos x="274" y="40"/>
                </a:cxn>
                <a:cxn ang="0">
                  <a:pos x="0" y="60"/>
                </a:cxn>
                <a:cxn ang="0">
                  <a:pos x="44" y="146"/>
                </a:cxn>
                <a:cxn ang="0">
                  <a:pos x="132" y="108"/>
                </a:cxn>
                <a:cxn ang="0">
                  <a:pos x="242" y="154"/>
                </a:cxn>
                <a:cxn ang="0">
                  <a:pos x="242" y="192"/>
                </a:cxn>
                <a:cxn ang="0">
                  <a:pos x="298" y="192"/>
                </a:cxn>
                <a:cxn ang="0">
                  <a:pos x="380" y="128"/>
                </a:cxn>
                <a:cxn ang="0">
                  <a:pos x="558" y="206"/>
                </a:cxn>
                <a:cxn ang="0">
                  <a:pos x="558" y="368"/>
                </a:cxn>
                <a:cxn ang="0">
                  <a:pos x="598" y="382"/>
                </a:cxn>
                <a:cxn ang="0">
                  <a:pos x="638" y="478"/>
                </a:cxn>
                <a:cxn ang="0">
                  <a:pos x="776" y="584"/>
                </a:cxn>
                <a:cxn ang="0">
                  <a:pos x="776" y="626"/>
                </a:cxn>
                <a:cxn ang="0">
                  <a:pos x="830" y="666"/>
                </a:cxn>
                <a:cxn ang="0">
                  <a:pos x="886" y="610"/>
                </a:cxn>
                <a:cxn ang="0">
                  <a:pos x="916" y="610"/>
                </a:cxn>
                <a:cxn ang="0">
                  <a:pos x="926" y="518"/>
                </a:cxn>
                <a:cxn ang="0">
                  <a:pos x="896" y="342"/>
                </a:cxn>
              </a:cxnLst>
              <a:rect l="0" t="0" r="r" b="b"/>
              <a:pathLst>
                <a:path w="926" h="666">
                  <a:moveTo>
                    <a:pt x="896" y="342"/>
                  </a:moveTo>
                  <a:lnTo>
                    <a:pt x="808" y="232"/>
                  </a:lnTo>
                  <a:lnTo>
                    <a:pt x="808" y="182"/>
                  </a:lnTo>
                  <a:lnTo>
                    <a:pt x="668" y="20"/>
                  </a:lnTo>
                  <a:lnTo>
                    <a:pt x="664" y="0"/>
                  </a:lnTo>
                  <a:lnTo>
                    <a:pt x="664" y="0"/>
                  </a:lnTo>
                  <a:lnTo>
                    <a:pt x="664" y="4"/>
                  </a:lnTo>
                  <a:lnTo>
                    <a:pt x="600" y="4"/>
                  </a:lnTo>
                  <a:lnTo>
                    <a:pt x="600" y="54"/>
                  </a:lnTo>
                  <a:lnTo>
                    <a:pt x="558" y="40"/>
                  </a:lnTo>
                  <a:lnTo>
                    <a:pt x="298" y="82"/>
                  </a:lnTo>
                  <a:lnTo>
                    <a:pt x="276" y="52"/>
                  </a:lnTo>
                  <a:lnTo>
                    <a:pt x="274" y="40"/>
                  </a:lnTo>
                  <a:lnTo>
                    <a:pt x="0" y="60"/>
                  </a:lnTo>
                  <a:lnTo>
                    <a:pt x="44" y="146"/>
                  </a:lnTo>
                  <a:lnTo>
                    <a:pt x="132" y="108"/>
                  </a:lnTo>
                  <a:lnTo>
                    <a:pt x="242" y="154"/>
                  </a:lnTo>
                  <a:lnTo>
                    <a:pt x="242" y="192"/>
                  </a:lnTo>
                  <a:lnTo>
                    <a:pt x="298" y="192"/>
                  </a:lnTo>
                  <a:lnTo>
                    <a:pt x="380" y="128"/>
                  </a:lnTo>
                  <a:lnTo>
                    <a:pt x="558" y="206"/>
                  </a:lnTo>
                  <a:lnTo>
                    <a:pt x="558" y="368"/>
                  </a:lnTo>
                  <a:lnTo>
                    <a:pt x="598" y="382"/>
                  </a:lnTo>
                  <a:lnTo>
                    <a:pt x="638" y="478"/>
                  </a:lnTo>
                  <a:lnTo>
                    <a:pt x="776" y="584"/>
                  </a:lnTo>
                  <a:lnTo>
                    <a:pt x="776" y="626"/>
                  </a:lnTo>
                  <a:lnTo>
                    <a:pt x="830" y="666"/>
                  </a:lnTo>
                  <a:lnTo>
                    <a:pt x="886" y="610"/>
                  </a:lnTo>
                  <a:lnTo>
                    <a:pt x="916" y="610"/>
                  </a:lnTo>
                  <a:lnTo>
                    <a:pt x="926" y="518"/>
                  </a:lnTo>
                  <a:lnTo>
                    <a:pt x="896" y="34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01" name="Freeform 3027"/>
            <p:cNvSpPr>
              <a:spLocks/>
            </p:cNvSpPr>
            <p:nvPr/>
          </p:nvSpPr>
          <p:spPr bwMode="auto">
            <a:xfrm>
              <a:off x="7353080" y="1575166"/>
              <a:ext cx="131121" cy="460207"/>
            </a:xfrm>
            <a:custGeom>
              <a:avLst/>
              <a:gdLst/>
              <a:ahLst/>
              <a:cxnLst>
                <a:cxn ang="0">
                  <a:pos x="40" y="13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38" y="132"/>
                </a:cxn>
                <a:cxn ang="0">
                  <a:pos x="102" y="358"/>
                </a:cxn>
                <a:cxn ang="0">
                  <a:pos x="80" y="276"/>
                </a:cxn>
                <a:cxn ang="0">
                  <a:pos x="40" y="132"/>
                </a:cxn>
              </a:cxnLst>
              <a:rect l="0" t="0" r="r" b="b"/>
              <a:pathLst>
                <a:path w="102" h="358">
                  <a:moveTo>
                    <a:pt x="40" y="13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38" y="132"/>
                  </a:lnTo>
                  <a:lnTo>
                    <a:pt x="102" y="358"/>
                  </a:lnTo>
                  <a:lnTo>
                    <a:pt x="80" y="276"/>
                  </a:lnTo>
                  <a:lnTo>
                    <a:pt x="40" y="13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02" name="Freeform 3028"/>
            <p:cNvSpPr>
              <a:spLocks/>
            </p:cNvSpPr>
            <p:nvPr/>
          </p:nvSpPr>
          <p:spPr bwMode="auto">
            <a:xfrm>
              <a:off x="7484201" y="2035373"/>
              <a:ext cx="79701" cy="1748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84"/>
                </a:cxn>
                <a:cxn ang="0">
                  <a:pos x="62" y="136"/>
                </a:cxn>
                <a:cxn ang="0">
                  <a:pos x="12" y="82"/>
                </a:cxn>
                <a:cxn ang="0">
                  <a:pos x="0" y="0"/>
                </a:cxn>
              </a:cxnLst>
              <a:rect l="0" t="0" r="r" b="b"/>
              <a:pathLst>
                <a:path w="62" h="136">
                  <a:moveTo>
                    <a:pt x="0" y="0"/>
                  </a:moveTo>
                  <a:lnTo>
                    <a:pt x="10" y="84"/>
                  </a:lnTo>
                  <a:lnTo>
                    <a:pt x="62" y="136"/>
                  </a:lnTo>
                  <a:lnTo>
                    <a:pt x="12" y="8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03" name="Freeform 3029"/>
            <p:cNvSpPr>
              <a:spLocks/>
            </p:cNvSpPr>
            <p:nvPr/>
          </p:nvSpPr>
          <p:spPr bwMode="auto">
            <a:xfrm>
              <a:off x="6705191" y="2313040"/>
              <a:ext cx="97698" cy="25967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6"/>
                </a:cxn>
                <a:cxn ang="0">
                  <a:pos x="6" y="24"/>
                </a:cxn>
                <a:cxn ang="0">
                  <a:pos x="74" y="202"/>
                </a:cxn>
                <a:cxn ang="0">
                  <a:pos x="76" y="200"/>
                </a:cxn>
                <a:cxn ang="0">
                  <a:pos x="2" y="0"/>
                </a:cxn>
              </a:cxnLst>
              <a:rect l="0" t="0" r="r" b="b"/>
              <a:pathLst>
                <a:path w="76" h="202">
                  <a:moveTo>
                    <a:pt x="2" y="0"/>
                  </a:moveTo>
                  <a:lnTo>
                    <a:pt x="0" y="6"/>
                  </a:lnTo>
                  <a:lnTo>
                    <a:pt x="6" y="24"/>
                  </a:lnTo>
                  <a:lnTo>
                    <a:pt x="74" y="202"/>
                  </a:lnTo>
                  <a:lnTo>
                    <a:pt x="76" y="20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04" name="Freeform 3030"/>
            <p:cNvSpPr>
              <a:spLocks/>
            </p:cNvSpPr>
            <p:nvPr/>
          </p:nvSpPr>
          <p:spPr bwMode="auto">
            <a:xfrm>
              <a:off x="6661484" y="2585565"/>
              <a:ext cx="503914" cy="455065"/>
            </a:xfrm>
            <a:custGeom>
              <a:avLst/>
              <a:gdLst/>
              <a:ahLst/>
              <a:cxnLst>
                <a:cxn ang="0">
                  <a:pos x="6" y="268"/>
                </a:cxn>
                <a:cxn ang="0">
                  <a:pos x="0" y="264"/>
                </a:cxn>
                <a:cxn ang="0">
                  <a:pos x="10" y="298"/>
                </a:cxn>
                <a:cxn ang="0">
                  <a:pos x="62" y="320"/>
                </a:cxn>
                <a:cxn ang="0">
                  <a:pos x="62" y="320"/>
                </a:cxn>
                <a:cxn ang="0">
                  <a:pos x="64" y="322"/>
                </a:cxn>
                <a:cxn ang="0">
                  <a:pos x="136" y="354"/>
                </a:cxn>
                <a:cxn ang="0">
                  <a:pos x="206" y="312"/>
                </a:cxn>
                <a:cxn ang="0">
                  <a:pos x="236" y="148"/>
                </a:cxn>
                <a:cxn ang="0">
                  <a:pos x="266" y="172"/>
                </a:cxn>
                <a:cxn ang="0">
                  <a:pos x="294" y="102"/>
                </a:cxn>
                <a:cxn ang="0">
                  <a:pos x="336" y="40"/>
                </a:cxn>
                <a:cxn ang="0">
                  <a:pos x="376" y="40"/>
                </a:cxn>
                <a:cxn ang="0">
                  <a:pos x="392" y="18"/>
                </a:cxn>
                <a:cxn ang="0">
                  <a:pos x="346" y="8"/>
                </a:cxn>
                <a:cxn ang="0">
                  <a:pos x="240" y="64"/>
                </a:cxn>
                <a:cxn ang="0">
                  <a:pos x="214" y="18"/>
                </a:cxn>
                <a:cxn ang="0">
                  <a:pos x="126" y="48"/>
                </a:cxn>
                <a:cxn ang="0">
                  <a:pos x="110" y="0"/>
                </a:cxn>
                <a:cxn ang="0">
                  <a:pos x="98" y="76"/>
                </a:cxn>
                <a:cxn ang="0">
                  <a:pos x="6" y="268"/>
                </a:cxn>
              </a:cxnLst>
              <a:rect l="0" t="0" r="r" b="b"/>
              <a:pathLst>
                <a:path w="392" h="354">
                  <a:moveTo>
                    <a:pt x="6" y="268"/>
                  </a:moveTo>
                  <a:lnTo>
                    <a:pt x="0" y="264"/>
                  </a:lnTo>
                  <a:lnTo>
                    <a:pt x="10" y="298"/>
                  </a:lnTo>
                  <a:lnTo>
                    <a:pt x="62" y="320"/>
                  </a:lnTo>
                  <a:lnTo>
                    <a:pt x="62" y="320"/>
                  </a:lnTo>
                  <a:lnTo>
                    <a:pt x="64" y="322"/>
                  </a:lnTo>
                  <a:lnTo>
                    <a:pt x="136" y="354"/>
                  </a:lnTo>
                  <a:lnTo>
                    <a:pt x="206" y="312"/>
                  </a:lnTo>
                  <a:lnTo>
                    <a:pt x="236" y="148"/>
                  </a:lnTo>
                  <a:lnTo>
                    <a:pt x="266" y="172"/>
                  </a:lnTo>
                  <a:lnTo>
                    <a:pt x="294" y="102"/>
                  </a:lnTo>
                  <a:lnTo>
                    <a:pt x="336" y="40"/>
                  </a:lnTo>
                  <a:lnTo>
                    <a:pt x="376" y="40"/>
                  </a:lnTo>
                  <a:lnTo>
                    <a:pt x="392" y="18"/>
                  </a:lnTo>
                  <a:lnTo>
                    <a:pt x="346" y="8"/>
                  </a:lnTo>
                  <a:lnTo>
                    <a:pt x="240" y="64"/>
                  </a:lnTo>
                  <a:lnTo>
                    <a:pt x="214" y="18"/>
                  </a:lnTo>
                  <a:lnTo>
                    <a:pt x="126" y="48"/>
                  </a:lnTo>
                  <a:lnTo>
                    <a:pt x="110" y="0"/>
                  </a:lnTo>
                  <a:lnTo>
                    <a:pt x="98" y="76"/>
                  </a:lnTo>
                  <a:lnTo>
                    <a:pt x="6" y="26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05" name="Freeform 3031"/>
            <p:cNvSpPr>
              <a:spLocks/>
            </p:cNvSpPr>
            <p:nvPr/>
          </p:nvSpPr>
          <p:spPr bwMode="auto">
            <a:xfrm>
              <a:off x="6661484" y="2922365"/>
              <a:ext cx="7713" cy="77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6" y="6"/>
                </a:cxn>
                <a:cxn ang="0">
                  <a:pos x="0" y="0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0" y="2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06" name="Freeform 3032"/>
            <p:cNvSpPr>
              <a:spLocks/>
            </p:cNvSpPr>
            <p:nvPr/>
          </p:nvSpPr>
          <p:spPr bwMode="auto">
            <a:xfrm>
              <a:off x="6787462" y="2582994"/>
              <a:ext cx="15426" cy="100269"/>
            </a:xfrm>
            <a:custGeom>
              <a:avLst/>
              <a:gdLst/>
              <a:ahLst/>
              <a:cxnLst>
                <a:cxn ang="0">
                  <a:pos x="0" y="78"/>
                </a:cxn>
                <a:cxn ang="0">
                  <a:pos x="12" y="2"/>
                </a:cxn>
                <a:cxn ang="0">
                  <a:pos x="10" y="0"/>
                </a:cxn>
                <a:cxn ang="0">
                  <a:pos x="0" y="78"/>
                </a:cxn>
              </a:cxnLst>
              <a:rect l="0" t="0" r="r" b="b"/>
              <a:pathLst>
                <a:path w="12" h="78">
                  <a:moveTo>
                    <a:pt x="0" y="78"/>
                  </a:moveTo>
                  <a:lnTo>
                    <a:pt x="12" y="2"/>
                  </a:lnTo>
                  <a:lnTo>
                    <a:pt x="10" y="0"/>
                  </a:lnTo>
                  <a:lnTo>
                    <a:pt x="0" y="78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07" name="Freeform 3033"/>
            <p:cNvSpPr>
              <a:spLocks/>
            </p:cNvSpPr>
            <p:nvPr/>
          </p:nvSpPr>
          <p:spPr bwMode="auto">
            <a:xfrm>
              <a:off x="6669197" y="2683263"/>
              <a:ext cx="118266" cy="246815"/>
            </a:xfrm>
            <a:custGeom>
              <a:avLst/>
              <a:gdLst/>
              <a:ahLst/>
              <a:cxnLst>
                <a:cxn ang="0">
                  <a:pos x="58" y="60"/>
                </a:cxn>
                <a:cxn ang="0">
                  <a:pos x="0" y="192"/>
                </a:cxn>
                <a:cxn ang="0">
                  <a:pos x="92" y="0"/>
                </a:cxn>
                <a:cxn ang="0">
                  <a:pos x="58" y="60"/>
                </a:cxn>
              </a:cxnLst>
              <a:rect l="0" t="0" r="r" b="b"/>
              <a:pathLst>
                <a:path w="92" h="192">
                  <a:moveTo>
                    <a:pt x="58" y="60"/>
                  </a:moveTo>
                  <a:lnTo>
                    <a:pt x="0" y="192"/>
                  </a:lnTo>
                  <a:lnTo>
                    <a:pt x="92" y="0"/>
                  </a:lnTo>
                  <a:lnTo>
                    <a:pt x="58" y="6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08" name="Freeform 3034"/>
            <p:cNvSpPr>
              <a:spLocks/>
            </p:cNvSpPr>
            <p:nvPr/>
          </p:nvSpPr>
          <p:spPr bwMode="auto">
            <a:xfrm>
              <a:off x="6800317" y="2572711"/>
              <a:ext cx="2571" cy="7713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0" y="6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09" name="Freeform 3035"/>
            <p:cNvSpPr>
              <a:spLocks/>
            </p:cNvSpPr>
            <p:nvPr/>
          </p:nvSpPr>
          <p:spPr bwMode="auto">
            <a:xfrm>
              <a:off x="6286119" y="2315611"/>
              <a:ext cx="509056" cy="601612"/>
            </a:xfrm>
            <a:custGeom>
              <a:avLst/>
              <a:gdLst/>
              <a:ahLst/>
              <a:cxnLst>
                <a:cxn ang="0">
                  <a:pos x="282" y="50"/>
                </a:cxn>
                <a:cxn ang="0">
                  <a:pos x="234" y="78"/>
                </a:cxn>
                <a:cxn ang="0">
                  <a:pos x="206" y="104"/>
                </a:cxn>
                <a:cxn ang="0">
                  <a:pos x="142" y="84"/>
                </a:cxn>
                <a:cxn ang="0">
                  <a:pos x="0" y="128"/>
                </a:cxn>
                <a:cxn ang="0">
                  <a:pos x="66" y="422"/>
                </a:cxn>
                <a:cxn ang="0">
                  <a:pos x="172" y="460"/>
                </a:cxn>
                <a:cxn ang="0">
                  <a:pos x="264" y="448"/>
                </a:cxn>
                <a:cxn ang="0">
                  <a:pos x="298" y="468"/>
                </a:cxn>
                <a:cxn ang="0">
                  <a:pos x="354" y="344"/>
                </a:cxn>
                <a:cxn ang="0">
                  <a:pos x="386" y="284"/>
                </a:cxn>
                <a:cxn ang="0">
                  <a:pos x="396" y="200"/>
                </a:cxn>
                <a:cxn ang="0">
                  <a:pos x="332" y="22"/>
                </a:cxn>
                <a:cxn ang="0">
                  <a:pos x="324" y="0"/>
                </a:cxn>
                <a:cxn ang="0">
                  <a:pos x="282" y="50"/>
                </a:cxn>
              </a:cxnLst>
              <a:rect l="0" t="0" r="r" b="b"/>
              <a:pathLst>
                <a:path w="396" h="468">
                  <a:moveTo>
                    <a:pt x="282" y="50"/>
                  </a:moveTo>
                  <a:lnTo>
                    <a:pt x="234" y="78"/>
                  </a:lnTo>
                  <a:lnTo>
                    <a:pt x="206" y="104"/>
                  </a:lnTo>
                  <a:lnTo>
                    <a:pt x="142" y="84"/>
                  </a:lnTo>
                  <a:lnTo>
                    <a:pt x="0" y="128"/>
                  </a:lnTo>
                  <a:lnTo>
                    <a:pt x="66" y="422"/>
                  </a:lnTo>
                  <a:lnTo>
                    <a:pt x="172" y="460"/>
                  </a:lnTo>
                  <a:lnTo>
                    <a:pt x="264" y="448"/>
                  </a:lnTo>
                  <a:lnTo>
                    <a:pt x="298" y="468"/>
                  </a:lnTo>
                  <a:lnTo>
                    <a:pt x="354" y="344"/>
                  </a:lnTo>
                  <a:lnTo>
                    <a:pt x="386" y="284"/>
                  </a:lnTo>
                  <a:lnTo>
                    <a:pt x="396" y="200"/>
                  </a:lnTo>
                  <a:lnTo>
                    <a:pt x="332" y="22"/>
                  </a:lnTo>
                  <a:lnTo>
                    <a:pt x="324" y="0"/>
                  </a:lnTo>
                  <a:lnTo>
                    <a:pt x="282" y="5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10" name="Freeform 3036"/>
            <p:cNvSpPr>
              <a:spLocks/>
            </p:cNvSpPr>
            <p:nvPr/>
          </p:nvSpPr>
          <p:spPr bwMode="auto">
            <a:xfrm>
              <a:off x="7353080" y="1575166"/>
              <a:ext cx="131121" cy="460207"/>
            </a:xfrm>
            <a:custGeom>
              <a:avLst/>
              <a:gdLst/>
              <a:ahLst/>
              <a:cxnLst>
                <a:cxn ang="0">
                  <a:pos x="40" y="13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38" y="132"/>
                </a:cxn>
                <a:cxn ang="0">
                  <a:pos x="102" y="358"/>
                </a:cxn>
                <a:cxn ang="0">
                  <a:pos x="80" y="276"/>
                </a:cxn>
                <a:cxn ang="0">
                  <a:pos x="40" y="132"/>
                </a:cxn>
              </a:cxnLst>
              <a:rect l="0" t="0" r="r" b="b"/>
              <a:pathLst>
                <a:path w="102" h="358">
                  <a:moveTo>
                    <a:pt x="40" y="13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38" y="132"/>
                  </a:lnTo>
                  <a:lnTo>
                    <a:pt x="102" y="358"/>
                  </a:lnTo>
                  <a:lnTo>
                    <a:pt x="80" y="276"/>
                  </a:lnTo>
                  <a:lnTo>
                    <a:pt x="40" y="13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11" name="Freeform 3037"/>
            <p:cNvSpPr>
              <a:spLocks/>
            </p:cNvSpPr>
            <p:nvPr/>
          </p:nvSpPr>
          <p:spPr bwMode="auto">
            <a:xfrm>
              <a:off x="7484201" y="2035373"/>
              <a:ext cx="79701" cy="1748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84"/>
                </a:cxn>
                <a:cxn ang="0">
                  <a:pos x="62" y="136"/>
                </a:cxn>
                <a:cxn ang="0">
                  <a:pos x="12" y="82"/>
                </a:cxn>
                <a:cxn ang="0">
                  <a:pos x="0" y="0"/>
                </a:cxn>
              </a:cxnLst>
              <a:rect l="0" t="0" r="r" b="b"/>
              <a:pathLst>
                <a:path w="62" h="136">
                  <a:moveTo>
                    <a:pt x="0" y="0"/>
                  </a:moveTo>
                  <a:lnTo>
                    <a:pt x="10" y="84"/>
                  </a:lnTo>
                  <a:lnTo>
                    <a:pt x="62" y="136"/>
                  </a:lnTo>
                  <a:lnTo>
                    <a:pt x="12" y="8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12" name="Freeform 3038"/>
            <p:cNvSpPr>
              <a:spLocks/>
            </p:cNvSpPr>
            <p:nvPr/>
          </p:nvSpPr>
          <p:spPr bwMode="auto">
            <a:xfrm>
              <a:off x="6815743" y="2122787"/>
              <a:ext cx="606754" cy="334229"/>
            </a:xfrm>
            <a:custGeom>
              <a:avLst/>
              <a:gdLst/>
              <a:ahLst/>
              <a:cxnLst>
                <a:cxn ang="0">
                  <a:pos x="472" y="190"/>
                </a:cxn>
                <a:cxn ang="0">
                  <a:pos x="434" y="138"/>
                </a:cxn>
                <a:cxn ang="0">
                  <a:pos x="444" y="68"/>
                </a:cxn>
                <a:cxn ang="0">
                  <a:pos x="364" y="0"/>
                </a:cxn>
                <a:cxn ang="0">
                  <a:pos x="0" y="120"/>
                </a:cxn>
                <a:cxn ang="0">
                  <a:pos x="364" y="4"/>
                </a:cxn>
                <a:cxn ang="0">
                  <a:pos x="440" y="70"/>
                </a:cxn>
                <a:cxn ang="0">
                  <a:pos x="430" y="138"/>
                </a:cxn>
                <a:cxn ang="0">
                  <a:pos x="470" y="190"/>
                </a:cxn>
                <a:cxn ang="0">
                  <a:pos x="442" y="260"/>
                </a:cxn>
                <a:cxn ang="0">
                  <a:pos x="444" y="258"/>
                </a:cxn>
                <a:cxn ang="0">
                  <a:pos x="472" y="190"/>
                </a:cxn>
              </a:cxnLst>
              <a:rect l="0" t="0" r="r" b="b"/>
              <a:pathLst>
                <a:path w="472" h="260">
                  <a:moveTo>
                    <a:pt x="472" y="190"/>
                  </a:moveTo>
                  <a:lnTo>
                    <a:pt x="434" y="138"/>
                  </a:lnTo>
                  <a:lnTo>
                    <a:pt x="444" y="68"/>
                  </a:lnTo>
                  <a:lnTo>
                    <a:pt x="364" y="0"/>
                  </a:lnTo>
                  <a:lnTo>
                    <a:pt x="0" y="120"/>
                  </a:lnTo>
                  <a:lnTo>
                    <a:pt x="364" y="4"/>
                  </a:lnTo>
                  <a:lnTo>
                    <a:pt x="440" y="70"/>
                  </a:lnTo>
                  <a:lnTo>
                    <a:pt x="430" y="138"/>
                  </a:lnTo>
                  <a:lnTo>
                    <a:pt x="470" y="190"/>
                  </a:lnTo>
                  <a:lnTo>
                    <a:pt x="442" y="260"/>
                  </a:lnTo>
                  <a:lnTo>
                    <a:pt x="444" y="258"/>
                  </a:lnTo>
                  <a:lnTo>
                    <a:pt x="472" y="19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13" name="Freeform 3039"/>
            <p:cNvSpPr>
              <a:spLocks/>
            </p:cNvSpPr>
            <p:nvPr/>
          </p:nvSpPr>
          <p:spPr bwMode="auto">
            <a:xfrm>
              <a:off x="6792604" y="2127929"/>
              <a:ext cx="491059" cy="154259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16" y="120"/>
                </a:cxn>
                <a:cxn ang="0">
                  <a:pos x="382" y="0"/>
                </a:cxn>
                <a:cxn ang="0">
                  <a:pos x="18" y="116"/>
                </a:cxn>
                <a:cxn ang="0">
                  <a:pos x="2" y="70"/>
                </a:cxn>
                <a:cxn ang="0">
                  <a:pos x="0" y="72"/>
                </a:cxn>
              </a:cxnLst>
              <a:rect l="0" t="0" r="r" b="b"/>
              <a:pathLst>
                <a:path w="382" h="120">
                  <a:moveTo>
                    <a:pt x="0" y="72"/>
                  </a:moveTo>
                  <a:lnTo>
                    <a:pt x="16" y="120"/>
                  </a:lnTo>
                  <a:lnTo>
                    <a:pt x="382" y="0"/>
                  </a:lnTo>
                  <a:lnTo>
                    <a:pt x="18" y="116"/>
                  </a:lnTo>
                  <a:lnTo>
                    <a:pt x="2" y="70"/>
                  </a:lnTo>
                  <a:lnTo>
                    <a:pt x="0" y="7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14" name="Freeform 3040"/>
            <p:cNvSpPr>
              <a:spLocks/>
            </p:cNvSpPr>
            <p:nvPr/>
          </p:nvSpPr>
          <p:spPr bwMode="auto">
            <a:xfrm>
              <a:off x="7345367" y="2457016"/>
              <a:ext cx="161972" cy="215963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62" y="168"/>
                </a:cxn>
                <a:cxn ang="0">
                  <a:pos x="126" y="142"/>
                </a:cxn>
                <a:cxn ang="0">
                  <a:pos x="126" y="80"/>
                </a:cxn>
                <a:cxn ang="0">
                  <a:pos x="30" y="2"/>
                </a:cxn>
                <a:cxn ang="0">
                  <a:pos x="30" y="0"/>
                </a:cxn>
                <a:cxn ang="0">
                  <a:pos x="0" y="10"/>
                </a:cxn>
              </a:cxnLst>
              <a:rect l="0" t="0" r="r" b="b"/>
              <a:pathLst>
                <a:path w="126" h="168">
                  <a:moveTo>
                    <a:pt x="0" y="10"/>
                  </a:moveTo>
                  <a:lnTo>
                    <a:pt x="62" y="168"/>
                  </a:lnTo>
                  <a:lnTo>
                    <a:pt x="126" y="142"/>
                  </a:lnTo>
                  <a:lnTo>
                    <a:pt x="126" y="80"/>
                  </a:lnTo>
                  <a:lnTo>
                    <a:pt x="30" y="2"/>
                  </a:lnTo>
                  <a:lnTo>
                    <a:pt x="3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15" name="Freeform 3041"/>
            <p:cNvSpPr>
              <a:spLocks/>
            </p:cNvSpPr>
            <p:nvPr/>
          </p:nvSpPr>
          <p:spPr bwMode="auto">
            <a:xfrm>
              <a:off x="6702620" y="2127929"/>
              <a:ext cx="717307" cy="511627"/>
            </a:xfrm>
            <a:custGeom>
              <a:avLst/>
              <a:gdLst/>
              <a:ahLst/>
              <a:cxnLst>
                <a:cxn ang="0">
                  <a:pos x="528" y="66"/>
                </a:cxn>
                <a:cxn ang="0">
                  <a:pos x="452" y="0"/>
                </a:cxn>
                <a:cxn ang="0">
                  <a:pos x="86" y="120"/>
                </a:cxn>
                <a:cxn ang="0">
                  <a:pos x="70" y="72"/>
                </a:cxn>
                <a:cxn ang="0">
                  <a:pos x="72" y="70"/>
                </a:cxn>
                <a:cxn ang="0">
                  <a:pos x="88" y="116"/>
                </a:cxn>
                <a:cxn ang="0">
                  <a:pos x="72" y="64"/>
                </a:cxn>
                <a:cxn ang="0">
                  <a:pos x="0" y="146"/>
                </a:cxn>
                <a:cxn ang="0">
                  <a:pos x="8" y="168"/>
                </a:cxn>
                <a:cxn ang="0">
                  <a:pos x="2" y="150"/>
                </a:cxn>
                <a:cxn ang="0">
                  <a:pos x="4" y="144"/>
                </a:cxn>
                <a:cxn ang="0">
                  <a:pos x="78" y="344"/>
                </a:cxn>
                <a:cxn ang="0">
                  <a:pos x="76" y="346"/>
                </a:cxn>
                <a:cxn ang="0">
                  <a:pos x="78" y="348"/>
                </a:cxn>
                <a:cxn ang="0">
                  <a:pos x="96" y="398"/>
                </a:cxn>
                <a:cxn ang="0">
                  <a:pos x="182" y="372"/>
                </a:cxn>
                <a:cxn ang="0">
                  <a:pos x="180" y="372"/>
                </a:cxn>
                <a:cxn ang="0">
                  <a:pos x="498" y="262"/>
                </a:cxn>
                <a:cxn ang="0">
                  <a:pos x="498" y="262"/>
                </a:cxn>
                <a:cxn ang="0">
                  <a:pos x="498" y="262"/>
                </a:cxn>
                <a:cxn ang="0">
                  <a:pos x="528" y="252"/>
                </a:cxn>
                <a:cxn ang="0">
                  <a:pos x="558" y="186"/>
                </a:cxn>
                <a:cxn ang="0">
                  <a:pos x="518" y="134"/>
                </a:cxn>
                <a:cxn ang="0">
                  <a:pos x="528" y="66"/>
                </a:cxn>
              </a:cxnLst>
              <a:rect l="0" t="0" r="r" b="b"/>
              <a:pathLst>
                <a:path w="558" h="398">
                  <a:moveTo>
                    <a:pt x="528" y="66"/>
                  </a:moveTo>
                  <a:lnTo>
                    <a:pt x="452" y="0"/>
                  </a:lnTo>
                  <a:lnTo>
                    <a:pt x="86" y="120"/>
                  </a:lnTo>
                  <a:lnTo>
                    <a:pt x="70" y="72"/>
                  </a:lnTo>
                  <a:lnTo>
                    <a:pt x="72" y="70"/>
                  </a:lnTo>
                  <a:lnTo>
                    <a:pt x="88" y="116"/>
                  </a:lnTo>
                  <a:lnTo>
                    <a:pt x="72" y="64"/>
                  </a:lnTo>
                  <a:lnTo>
                    <a:pt x="0" y="146"/>
                  </a:lnTo>
                  <a:lnTo>
                    <a:pt x="8" y="168"/>
                  </a:lnTo>
                  <a:lnTo>
                    <a:pt x="2" y="150"/>
                  </a:lnTo>
                  <a:lnTo>
                    <a:pt x="4" y="144"/>
                  </a:lnTo>
                  <a:lnTo>
                    <a:pt x="78" y="344"/>
                  </a:lnTo>
                  <a:lnTo>
                    <a:pt x="76" y="346"/>
                  </a:lnTo>
                  <a:lnTo>
                    <a:pt x="78" y="348"/>
                  </a:lnTo>
                  <a:lnTo>
                    <a:pt x="96" y="398"/>
                  </a:lnTo>
                  <a:lnTo>
                    <a:pt x="182" y="372"/>
                  </a:lnTo>
                  <a:lnTo>
                    <a:pt x="180" y="372"/>
                  </a:lnTo>
                  <a:lnTo>
                    <a:pt x="498" y="262"/>
                  </a:lnTo>
                  <a:lnTo>
                    <a:pt x="498" y="262"/>
                  </a:lnTo>
                  <a:lnTo>
                    <a:pt x="498" y="262"/>
                  </a:lnTo>
                  <a:lnTo>
                    <a:pt x="528" y="252"/>
                  </a:lnTo>
                  <a:lnTo>
                    <a:pt x="558" y="186"/>
                  </a:lnTo>
                  <a:lnTo>
                    <a:pt x="518" y="134"/>
                  </a:lnTo>
                  <a:lnTo>
                    <a:pt x="528" y="6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16" name="Freeform 3042"/>
            <p:cNvSpPr>
              <a:spLocks/>
            </p:cNvSpPr>
            <p:nvPr/>
          </p:nvSpPr>
          <p:spPr bwMode="auto">
            <a:xfrm>
              <a:off x="7353080" y="1575166"/>
              <a:ext cx="131121" cy="460207"/>
            </a:xfrm>
            <a:custGeom>
              <a:avLst/>
              <a:gdLst/>
              <a:ahLst/>
              <a:cxnLst>
                <a:cxn ang="0">
                  <a:pos x="40" y="13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38" y="132"/>
                </a:cxn>
                <a:cxn ang="0">
                  <a:pos x="102" y="358"/>
                </a:cxn>
                <a:cxn ang="0">
                  <a:pos x="80" y="276"/>
                </a:cxn>
                <a:cxn ang="0">
                  <a:pos x="40" y="132"/>
                </a:cxn>
              </a:cxnLst>
              <a:rect l="0" t="0" r="r" b="b"/>
              <a:pathLst>
                <a:path w="102" h="358">
                  <a:moveTo>
                    <a:pt x="40" y="13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38" y="132"/>
                  </a:lnTo>
                  <a:lnTo>
                    <a:pt x="102" y="358"/>
                  </a:lnTo>
                  <a:lnTo>
                    <a:pt x="80" y="276"/>
                  </a:lnTo>
                  <a:lnTo>
                    <a:pt x="40" y="13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17" name="Freeform 3043"/>
            <p:cNvSpPr>
              <a:spLocks/>
            </p:cNvSpPr>
            <p:nvPr/>
          </p:nvSpPr>
          <p:spPr bwMode="auto">
            <a:xfrm>
              <a:off x="7391645" y="2210201"/>
              <a:ext cx="95127" cy="23139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74" y="18"/>
                </a:cxn>
                <a:cxn ang="0">
                  <a:pos x="14" y="4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74" h="18">
                  <a:moveTo>
                    <a:pt x="0" y="2"/>
                  </a:moveTo>
                  <a:lnTo>
                    <a:pt x="74" y="18"/>
                  </a:lnTo>
                  <a:lnTo>
                    <a:pt x="14" y="4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18" name="Freeform 3044"/>
            <p:cNvSpPr>
              <a:spLocks/>
            </p:cNvSpPr>
            <p:nvPr/>
          </p:nvSpPr>
          <p:spPr bwMode="auto">
            <a:xfrm>
              <a:off x="7484201" y="2035373"/>
              <a:ext cx="79701" cy="1748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84"/>
                </a:cxn>
                <a:cxn ang="0">
                  <a:pos x="62" y="136"/>
                </a:cxn>
                <a:cxn ang="0">
                  <a:pos x="12" y="82"/>
                </a:cxn>
                <a:cxn ang="0">
                  <a:pos x="0" y="0"/>
                </a:cxn>
              </a:cxnLst>
              <a:rect l="0" t="0" r="r" b="b"/>
              <a:pathLst>
                <a:path w="62" h="136">
                  <a:moveTo>
                    <a:pt x="0" y="0"/>
                  </a:moveTo>
                  <a:lnTo>
                    <a:pt x="10" y="84"/>
                  </a:lnTo>
                  <a:lnTo>
                    <a:pt x="62" y="136"/>
                  </a:lnTo>
                  <a:lnTo>
                    <a:pt x="12" y="8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19" name="Freeform 3045"/>
            <p:cNvSpPr>
              <a:spLocks/>
            </p:cNvSpPr>
            <p:nvPr/>
          </p:nvSpPr>
          <p:spPr bwMode="auto">
            <a:xfrm>
              <a:off x="7486772" y="2233340"/>
              <a:ext cx="64275" cy="17997"/>
            </a:xfrm>
            <a:custGeom>
              <a:avLst/>
              <a:gdLst/>
              <a:ahLst/>
              <a:cxnLst>
                <a:cxn ang="0">
                  <a:pos x="50" y="12"/>
                </a:cxn>
                <a:cxn ang="0">
                  <a:pos x="0" y="0"/>
                </a:cxn>
                <a:cxn ang="0">
                  <a:pos x="50" y="14"/>
                </a:cxn>
                <a:cxn ang="0">
                  <a:pos x="50" y="12"/>
                </a:cxn>
              </a:cxnLst>
              <a:rect l="0" t="0" r="r" b="b"/>
              <a:pathLst>
                <a:path w="50" h="14">
                  <a:moveTo>
                    <a:pt x="50" y="12"/>
                  </a:moveTo>
                  <a:lnTo>
                    <a:pt x="0" y="0"/>
                  </a:lnTo>
                  <a:lnTo>
                    <a:pt x="50" y="14"/>
                  </a:lnTo>
                  <a:lnTo>
                    <a:pt x="50" y="1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20" name="Freeform 3046"/>
            <p:cNvSpPr>
              <a:spLocks/>
            </p:cNvSpPr>
            <p:nvPr/>
          </p:nvSpPr>
          <p:spPr bwMode="auto">
            <a:xfrm>
              <a:off x="7373648" y="2207630"/>
              <a:ext cx="177398" cy="344513"/>
            </a:xfrm>
            <a:custGeom>
              <a:avLst/>
              <a:gdLst/>
              <a:ahLst/>
              <a:cxnLst>
                <a:cxn ang="0">
                  <a:pos x="10" y="2"/>
                </a:cxn>
                <a:cxn ang="0">
                  <a:pos x="0" y="72"/>
                </a:cxn>
                <a:cxn ang="0">
                  <a:pos x="38" y="124"/>
                </a:cxn>
                <a:cxn ang="0">
                  <a:pos x="10" y="192"/>
                </a:cxn>
                <a:cxn ang="0">
                  <a:pos x="8" y="194"/>
                </a:cxn>
                <a:cxn ang="0">
                  <a:pos x="8" y="196"/>
                </a:cxn>
                <a:cxn ang="0">
                  <a:pos x="10" y="194"/>
                </a:cxn>
                <a:cxn ang="0">
                  <a:pos x="104" y="268"/>
                </a:cxn>
                <a:cxn ang="0">
                  <a:pos x="104" y="226"/>
                </a:cxn>
                <a:cxn ang="0">
                  <a:pos x="134" y="80"/>
                </a:cxn>
                <a:cxn ang="0">
                  <a:pos x="104" y="56"/>
                </a:cxn>
                <a:cxn ang="0">
                  <a:pos x="136" y="40"/>
                </a:cxn>
                <a:cxn ang="0">
                  <a:pos x="138" y="34"/>
                </a:cxn>
                <a:cxn ang="0">
                  <a:pos x="88" y="20"/>
                </a:cxn>
                <a:cxn ang="0">
                  <a:pos x="14" y="4"/>
                </a:cxn>
                <a:cxn ang="0">
                  <a:pos x="14" y="2"/>
                </a:cxn>
                <a:cxn ang="0">
                  <a:pos x="28" y="6"/>
                </a:cxn>
                <a:cxn ang="0">
                  <a:pos x="6" y="0"/>
                </a:cxn>
                <a:cxn ang="0">
                  <a:pos x="10" y="2"/>
                </a:cxn>
              </a:cxnLst>
              <a:rect l="0" t="0" r="r" b="b"/>
              <a:pathLst>
                <a:path w="138" h="268">
                  <a:moveTo>
                    <a:pt x="10" y="2"/>
                  </a:moveTo>
                  <a:lnTo>
                    <a:pt x="0" y="72"/>
                  </a:lnTo>
                  <a:lnTo>
                    <a:pt x="38" y="124"/>
                  </a:lnTo>
                  <a:lnTo>
                    <a:pt x="10" y="192"/>
                  </a:lnTo>
                  <a:lnTo>
                    <a:pt x="8" y="194"/>
                  </a:lnTo>
                  <a:lnTo>
                    <a:pt x="8" y="196"/>
                  </a:lnTo>
                  <a:lnTo>
                    <a:pt x="10" y="194"/>
                  </a:lnTo>
                  <a:lnTo>
                    <a:pt x="104" y="268"/>
                  </a:lnTo>
                  <a:lnTo>
                    <a:pt x="104" y="226"/>
                  </a:lnTo>
                  <a:lnTo>
                    <a:pt x="134" y="80"/>
                  </a:lnTo>
                  <a:lnTo>
                    <a:pt x="104" y="56"/>
                  </a:lnTo>
                  <a:lnTo>
                    <a:pt x="136" y="40"/>
                  </a:lnTo>
                  <a:lnTo>
                    <a:pt x="138" y="34"/>
                  </a:lnTo>
                  <a:lnTo>
                    <a:pt x="88" y="20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28" y="6"/>
                  </a:lnTo>
                  <a:lnTo>
                    <a:pt x="6" y="0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21" name="Freeform 3047"/>
            <p:cNvSpPr>
              <a:spLocks/>
            </p:cNvSpPr>
            <p:nvPr/>
          </p:nvSpPr>
          <p:spPr bwMode="auto">
            <a:xfrm>
              <a:off x="7484201" y="2035373"/>
              <a:ext cx="15426" cy="105411"/>
            </a:xfrm>
            <a:custGeom>
              <a:avLst/>
              <a:gdLst/>
              <a:ahLst/>
              <a:cxnLst>
                <a:cxn ang="0">
                  <a:pos x="12" y="82"/>
                </a:cxn>
                <a:cxn ang="0">
                  <a:pos x="0" y="0"/>
                </a:cxn>
                <a:cxn ang="0">
                  <a:pos x="6" y="58"/>
                </a:cxn>
                <a:cxn ang="0">
                  <a:pos x="12" y="82"/>
                </a:cxn>
              </a:cxnLst>
              <a:rect l="0" t="0" r="r" b="b"/>
              <a:pathLst>
                <a:path w="12" h="82">
                  <a:moveTo>
                    <a:pt x="12" y="82"/>
                  </a:moveTo>
                  <a:lnTo>
                    <a:pt x="0" y="0"/>
                  </a:lnTo>
                  <a:lnTo>
                    <a:pt x="6" y="58"/>
                  </a:lnTo>
                  <a:lnTo>
                    <a:pt x="12" y="8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22" name="Freeform 3048"/>
            <p:cNvSpPr>
              <a:spLocks/>
            </p:cNvSpPr>
            <p:nvPr/>
          </p:nvSpPr>
          <p:spPr bwMode="auto">
            <a:xfrm>
              <a:off x="7353080" y="1575166"/>
              <a:ext cx="131121" cy="460207"/>
            </a:xfrm>
            <a:custGeom>
              <a:avLst/>
              <a:gdLst/>
              <a:ahLst/>
              <a:cxnLst>
                <a:cxn ang="0">
                  <a:pos x="38" y="132"/>
                </a:cxn>
                <a:cxn ang="0">
                  <a:pos x="102" y="358"/>
                </a:cxn>
                <a:cxn ang="0">
                  <a:pos x="80" y="276"/>
                </a:cxn>
                <a:cxn ang="0">
                  <a:pos x="40" y="13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8" y="34"/>
                </a:cxn>
                <a:cxn ang="0">
                  <a:pos x="38" y="132"/>
                </a:cxn>
              </a:cxnLst>
              <a:rect l="0" t="0" r="r" b="b"/>
              <a:pathLst>
                <a:path w="102" h="358">
                  <a:moveTo>
                    <a:pt x="38" y="132"/>
                  </a:moveTo>
                  <a:lnTo>
                    <a:pt x="102" y="358"/>
                  </a:lnTo>
                  <a:lnTo>
                    <a:pt x="80" y="276"/>
                  </a:lnTo>
                  <a:lnTo>
                    <a:pt x="40" y="132"/>
                  </a:lnTo>
                  <a:lnTo>
                    <a:pt x="2" y="0"/>
                  </a:lnTo>
                  <a:lnTo>
                    <a:pt x="0" y="0"/>
                  </a:lnTo>
                  <a:lnTo>
                    <a:pt x="8" y="34"/>
                  </a:lnTo>
                  <a:lnTo>
                    <a:pt x="38" y="132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23" name="Freeform 3049"/>
            <p:cNvSpPr>
              <a:spLocks/>
            </p:cNvSpPr>
            <p:nvPr/>
          </p:nvSpPr>
          <p:spPr bwMode="auto">
            <a:xfrm>
              <a:off x="7353080" y="1575166"/>
              <a:ext cx="10284" cy="43707"/>
            </a:xfrm>
            <a:custGeom>
              <a:avLst/>
              <a:gdLst/>
              <a:ahLst/>
              <a:cxnLst>
                <a:cxn ang="0">
                  <a:pos x="8" y="3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8" y="34"/>
                </a:cxn>
              </a:cxnLst>
              <a:rect l="0" t="0" r="r" b="b"/>
              <a:pathLst>
                <a:path w="8" h="34">
                  <a:moveTo>
                    <a:pt x="8" y="34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8" y="3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24" name="Freeform 3050"/>
            <p:cNvSpPr>
              <a:spLocks/>
            </p:cNvSpPr>
            <p:nvPr/>
          </p:nvSpPr>
          <p:spPr bwMode="auto">
            <a:xfrm>
              <a:off x="7499627" y="2140784"/>
              <a:ext cx="64275" cy="69417"/>
            </a:xfrm>
            <a:custGeom>
              <a:avLst/>
              <a:gdLst/>
              <a:ahLst/>
              <a:cxnLst>
                <a:cxn ang="0">
                  <a:pos x="50" y="54"/>
                </a:cxn>
                <a:cxn ang="0">
                  <a:pos x="0" y="0"/>
                </a:cxn>
                <a:cxn ang="0">
                  <a:pos x="46" y="50"/>
                </a:cxn>
                <a:cxn ang="0">
                  <a:pos x="50" y="54"/>
                </a:cxn>
              </a:cxnLst>
              <a:rect l="0" t="0" r="r" b="b"/>
              <a:pathLst>
                <a:path w="50" h="54">
                  <a:moveTo>
                    <a:pt x="50" y="54"/>
                  </a:moveTo>
                  <a:lnTo>
                    <a:pt x="0" y="0"/>
                  </a:lnTo>
                  <a:lnTo>
                    <a:pt x="46" y="50"/>
                  </a:lnTo>
                  <a:lnTo>
                    <a:pt x="50" y="54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25" name="Freeform 3051"/>
            <p:cNvSpPr>
              <a:spLocks/>
            </p:cNvSpPr>
            <p:nvPr/>
          </p:nvSpPr>
          <p:spPr bwMode="auto">
            <a:xfrm>
              <a:off x="7491914" y="2109932"/>
              <a:ext cx="66846" cy="95127"/>
            </a:xfrm>
            <a:custGeom>
              <a:avLst/>
              <a:gdLst/>
              <a:ahLst/>
              <a:cxnLst>
                <a:cxn ang="0">
                  <a:pos x="4" y="26"/>
                </a:cxn>
                <a:cxn ang="0">
                  <a:pos x="52" y="74"/>
                </a:cxn>
                <a:cxn ang="0">
                  <a:pos x="6" y="24"/>
                </a:cxn>
                <a:cxn ang="0">
                  <a:pos x="0" y="0"/>
                </a:cxn>
                <a:cxn ang="0">
                  <a:pos x="4" y="26"/>
                </a:cxn>
              </a:cxnLst>
              <a:rect l="0" t="0" r="r" b="b"/>
              <a:pathLst>
                <a:path w="52" h="74">
                  <a:moveTo>
                    <a:pt x="4" y="26"/>
                  </a:moveTo>
                  <a:lnTo>
                    <a:pt x="52" y="74"/>
                  </a:lnTo>
                  <a:lnTo>
                    <a:pt x="6" y="24"/>
                  </a:lnTo>
                  <a:lnTo>
                    <a:pt x="0" y="0"/>
                  </a:lnTo>
                  <a:lnTo>
                    <a:pt x="4" y="26"/>
                  </a:lnTo>
                  <a:close/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26" name="Line 3080"/>
            <p:cNvSpPr>
              <a:spLocks noChangeShapeType="1"/>
            </p:cNvSpPr>
            <p:nvPr/>
          </p:nvSpPr>
          <p:spPr bwMode="auto">
            <a:xfrm>
              <a:off x="4392075" y="5253314"/>
              <a:ext cx="1286" cy="1286"/>
            </a:xfrm>
            <a:prstGeom prst="line">
              <a:avLst/>
            </a:pr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27" name="Line 3117"/>
            <p:cNvSpPr>
              <a:spLocks noChangeShapeType="1"/>
            </p:cNvSpPr>
            <p:nvPr/>
          </p:nvSpPr>
          <p:spPr bwMode="auto">
            <a:xfrm>
              <a:off x="7481174" y="1552665"/>
              <a:ext cx="1286" cy="1286"/>
            </a:xfrm>
            <a:prstGeom prst="line">
              <a:avLst/>
            </a:pr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28" name="Line 3118"/>
            <p:cNvSpPr>
              <a:spLocks noChangeShapeType="1"/>
            </p:cNvSpPr>
            <p:nvPr/>
          </p:nvSpPr>
          <p:spPr bwMode="auto">
            <a:xfrm>
              <a:off x="7481174" y="1552665"/>
              <a:ext cx="1286" cy="1286"/>
            </a:xfrm>
            <a:prstGeom prst="line">
              <a:avLst/>
            </a:pr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29" name="Line 3119"/>
            <p:cNvSpPr>
              <a:spLocks noChangeShapeType="1"/>
            </p:cNvSpPr>
            <p:nvPr/>
          </p:nvSpPr>
          <p:spPr bwMode="auto">
            <a:xfrm>
              <a:off x="7419466" y="2298310"/>
              <a:ext cx="1286" cy="1286"/>
            </a:xfrm>
            <a:prstGeom prst="line">
              <a:avLst/>
            </a:pr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  <p:sp>
          <p:nvSpPr>
            <p:cNvPr id="230" name="Line 3120"/>
            <p:cNvSpPr>
              <a:spLocks noChangeShapeType="1"/>
            </p:cNvSpPr>
            <p:nvPr/>
          </p:nvSpPr>
          <p:spPr bwMode="auto">
            <a:xfrm>
              <a:off x="7733151" y="2115755"/>
              <a:ext cx="1286" cy="1286"/>
            </a:xfrm>
            <a:prstGeom prst="line">
              <a:avLst/>
            </a:pr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457008">
                <a:defRPr/>
              </a:pPr>
              <a:endParaRPr lang="da-DK" kern="0">
                <a:solidFill>
                  <a:prstClr val="white"/>
                </a:solidFill>
                <a:ea typeface="ＭＳ Ｐゴシック" pitchFamily="-97" charset="-128"/>
              </a:endParaRPr>
            </a:p>
          </p:txBody>
        </p:sp>
      </p:grpSp>
      <p:sp>
        <p:nvSpPr>
          <p:cNvPr id="242" name="TextBox 241"/>
          <p:cNvSpPr txBox="1"/>
          <p:nvPr/>
        </p:nvSpPr>
        <p:spPr>
          <a:xfrm>
            <a:off x="5597234" y="4672879"/>
            <a:ext cx="1439584" cy="338520"/>
          </a:xfrm>
          <a:prstGeom prst="rect">
            <a:avLst/>
          </a:prstGeom>
          <a:noFill/>
        </p:spPr>
        <p:txBody>
          <a:bodyPr wrap="square" lIns="91403" tIns="45703" rIns="91403" bIns="45703" rtlCol="0">
            <a:spAutoFit/>
          </a:bodyPr>
          <a:lstStyle/>
          <a:p>
            <a:r>
              <a:rPr lang="en-US" sz="1600" dirty="0" smtClean="0">
                <a:solidFill>
                  <a:prstClr val="black"/>
                </a:solidFill>
                <a:latin typeface="Calibri" panose="020F0502020204030204" pitchFamily="34" charset="0"/>
              </a:rPr>
              <a:t>New Orleans</a:t>
            </a:r>
            <a:endParaRPr lang="en-US" sz="16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246" name="TextBox 245"/>
          <p:cNvSpPr txBox="1"/>
          <p:nvPr/>
        </p:nvSpPr>
        <p:spPr>
          <a:xfrm>
            <a:off x="5157469" y="2679939"/>
            <a:ext cx="889525" cy="338520"/>
          </a:xfrm>
          <a:prstGeom prst="rect">
            <a:avLst/>
          </a:prstGeom>
          <a:noFill/>
        </p:spPr>
        <p:txBody>
          <a:bodyPr wrap="square" lIns="91403" tIns="45703" rIns="91403" bIns="45703" rtlCol="0">
            <a:spAutoFit/>
          </a:bodyPr>
          <a:lstStyle/>
          <a:p>
            <a:r>
              <a:rPr lang="en-US" sz="1600" dirty="0" smtClean="0">
                <a:solidFill>
                  <a:prstClr val="black"/>
                </a:solidFill>
                <a:latin typeface="Calibri" panose="020F0502020204030204" pitchFamily="34" charset="0"/>
              </a:rPr>
              <a:t>Chicago</a:t>
            </a:r>
            <a:endParaRPr lang="en-US" sz="16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250" name="TextBox 249"/>
          <p:cNvSpPr txBox="1"/>
          <p:nvPr/>
        </p:nvSpPr>
        <p:spPr>
          <a:xfrm>
            <a:off x="4540495" y="4919650"/>
            <a:ext cx="1213093" cy="338520"/>
          </a:xfrm>
          <a:prstGeom prst="rect">
            <a:avLst/>
          </a:prstGeom>
          <a:noFill/>
        </p:spPr>
        <p:txBody>
          <a:bodyPr wrap="square" lIns="91403" tIns="45703" rIns="91403" bIns="45703" rtlCol="0">
            <a:spAutoFit/>
          </a:bodyPr>
          <a:lstStyle/>
          <a:p>
            <a:r>
              <a:rPr lang="en-US" sz="1600" dirty="0" smtClean="0">
                <a:solidFill>
                  <a:prstClr val="black"/>
                </a:solidFill>
                <a:latin typeface="Calibri" panose="020F0502020204030204" pitchFamily="34" charset="0"/>
              </a:rPr>
              <a:t>Houston</a:t>
            </a:r>
            <a:endParaRPr lang="en-US" sz="16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254" name="TextBox 253"/>
          <p:cNvSpPr txBox="1"/>
          <p:nvPr/>
        </p:nvSpPr>
        <p:spPr>
          <a:xfrm>
            <a:off x="5529885" y="3747154"/>
            <a:ext cx="1213093" cy="338520"/>
          </a:xfrm>
          <a:prstGeom prst="rect">
            <a:avLst/>
          </a:prstGeom>
          <a:noFill/>
        </p:spPr>
        <p:txBody>
          <a:bodyPr wrap="square" lIns="91403" tIns="45703" rIns="91403" bIns="45703" rtlCol="0">
            <a:spAutoFit/>
          </a:bodyPr>
          <a:lstStyle/>
          <a:p>
            <a:r>
              <a:rPr lang="en-US" sz="1600" dirty="0" smtClean="0">
                <a:solidFill>
                  <a:prstClr val="black"/>
                </a:solidFill>
                <a:latin typeface="Calibri" panose="020F0502020204030204" pitchFamily="34" charset="0"/>
              </a:rPr>
              <a:t>Memphis</a:t>
            </a:r>
            <a:endParaRPr lang="en-US" sz="16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266" name="Oval 265"/>
          <p:cNvSpPr/>
          <p:nvPr/>
        </p:nvSpPr>
        <p:spPr>
          <a:xfrm>
            <a:off x="5544632" y="2619695"/>
            <a:ext cx="107638" cy="1076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69" name="Oval 268"/>
          <p:cNvSpPr/>
          <p:nvPr/>
        </p:nvSpPr>
        <p:spPr>
          <a:xfrm>
            <a:off x="4761004" y="4905639"/>
            <a:ext cx="107638" cy="1076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71" name="TextBox 270"/>
          <p:cNvSpPr txBox="1"/>
          <p:nvPr/>
        </p:nvSpPr>
        <p:spPr>
          <a:xfrm>
            <a:off x="2973381" y="3354611"/>
            <a:ext cx="852742" cy="338520"/>
          </a:xfrm>
          <a:prstGeom prst="rect">
            <a:avLst/>
          </a:prstGeom>
          <a:noFill/>
        </p:spPr>
        <p:txBody>
          <a:bodyPr wrap="square" lIns="91403" tIns="45703" rIns="91403" bIns="45703" rtlCol="0">
            <a:spAutoFit/>
          </a:bodyPr>
          <a:lstStyle/>
          <a:p>
            <a:r>
              <a:rPr lang="en-US" sz="1600" dirty="0" smtClean="0">
                <a:solidFill>
                  <a:prstClr val="black"/>
                </a:solidFill>
                <a:latin typeface="Calibri" panose="020F0502020204030204" pitchFamily="34" charset="0"/>
              </a:rPr>
              <a:t>Denver</a:t>
            </a:r>
            <a:endParaRPr lang="en-US" sz="16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276" name="Oval 275"/>
          <p:cNvSpPr/>
          <p:nvPr/>
        </p:nvSpPr>
        <p:spPr>
          <a:xfrm>
            <a:off x="1174291" y="3154110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78" name="Oval 277"/>
          <p:cNvSpPr/>
          <p:nvPr/>
        </p:nvSpPr>
        <p:spPr>
          <a:xfrm>
            <a:off x="3492616" y="3348717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81" name="Oval 280"/>
          <p:cNvSpPr/>
          <p:nvPr/>
        </p:nvSpPr>
        <p:spPr>
          <a:xfrm>
            <a:off x="7207826" y="5353133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82" name="Oval 281"/>
          <p:cNvSpPr/>
          <p:nvPr/>
        </p:nvSpPr>
        <p:spPr>
          <a:xfrm>
            <a:off x="6768137" y="5040073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83" name="Oval 282"/>
          <p:cNvSpPr/>
          <p:nvPr/>
        </p:nvSpPr>
        <p:spPr>
          <a:xfrm>
            <a:off x="6876624" y="4577873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84" name="Oval 283"/>
          <p:cNvSpPr/>
          <p:nvPr/>
        </p:nvSpPr>
        <p:spPr>
          <a:xfrm>
            <a:off x="6832577" y="4987910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85" name="Oval 284"/>
          <p:cNvSpPr/>
          <p:nvPr/>
        </p:nvSpPr>
        <p:spPr>
          <a:xfrm>
            <a:off x="5494830" y="2679237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86" name="Oval 285"/>
          <p:cNvSpPr/>
          <p:nvPr/>
        </p:nvSpPr>
        <p:spPr>
          <a:xfrm>
            <a:off x="5367397" y="4728257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90" name="Oval 289"/>
          <p:cNvSpPr/>
          <p:nvPr/>
        </p:nvSpPr>
        <p:spPr>
          <a:xfrm>
            <a:off x="4833697" y="2188733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91" name="Oval 290"/>
          <p:cNvSpPr/>
          <p:nvPr/>
        </p:nvSpPr>
        <p:spPr>
          <a:xfrm>
            <a:off x="4816026" y="3236197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92" name="Oval 291"/>
          <p:cNvSpPr/>
          <p:nvPr/>
        </p:nvSpPr>
        <p:spPr>
          <a:xfrm>
            <a:off x="6786663" y="3672726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93" name="Oval 292"/>
          <p:cNvSpPr/>
          <p:nvPr/>
        </p:nvSpPr>
        <p:spPr>
          <a:xfrm>
            <a:off x="7053993" y="3328010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03" name="Oval 302"/>
          <p:cNvSpPr/>
          <p:nvPr/>
        </p:nvSpPr>
        <p:spPr>
          <a:xfrm>
            <a:off x="5480602" y="3846758"/>
            <a:ext cx="127622" cy="12762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05" name="Oval 304"/>
          <p:cNvSpPr/>
          <p:nvPr/>
        </p:nvSpPr>
        <p:spPr>
          <a:xfrm>
            <a:off x="5509253" y="2408717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06" name="Oval 305"/>
          <p:cNvSpPr/>
          <p:nvPr/>
        </p:nvSpPr>
        <p:spPr>
          <a:xfrm>
            <a:off x="5438877" y="2359628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08" name="Oval 307"/>
          <p:cNvSpPr/>
          <p:nvPr/>
        </p:nvSpPr>
        <p:spPr>
          <a:xfrm>
            <a:off x="328625" y="4968467"/>
            <a:ext cx="137160" cy="13716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09" name="Oval 308"/>
          <p:cNvSpPr>
            <a:spLocks noChangeAspect="1"/>
          </p:cNvSpPr>
          <p:nvPr/>
        </p:nvSpPr>
        <p:spPr>
          <a:xfrm>
            <a:off x="337768" y="5296791"/>
            <a:ext cx="118872" cy="118872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11" name="Oval 310"/>
          <p:cNvSpPr/>
          <p:nvPr/>
        </p:nvSpPr>
        <p:spPr>
          <a:xfrm>
            <a:off x="363207" y="5654124"/>
            <a:ext cx="91440" cy="914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93262" y="4855688"/>
            <a:ext cx="941262" cy="338547"/>
          </a:xfrm>
          <a:prstGeom prst="rect">
            <a:avLst/>
          </a:prstGeom>
        </p:spPr>
        <p:txBody>
          <a:bodyPr wrap="none" lIns="91403" tIns="45703" rIns="91403" bIns="45703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ampuses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312" name="Rectangle 311"/>
          <p:cNvSpPr/>
          <p:nvPr/>
        </p:nvSpPr>
        <p:spPr>
          <a:xfrm>
            <a:off x="493267" y="5168522"/>
            <a:ext cx="1456616" cy="338547"/>
          </a:xfrm>
          <a:prstGeom prst="rect">
            <a:avLst/>
          </a:prstGeom>
        </p:spPr>
        <p:txBody>
          <a:bodyPr wrap="none" lIns="91403" tIns="45703" rIns="91403" bIns="45703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ture Campuses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314" name="Rectangle 313"/>
          <p:cNvSpPr/>
          <p:nvPr/>
        </p:nvSpPr>
        <p:spPr>
          <a:xfrm>
            <a:off x="493263" y="5501122"/>
            <a:ext cx="2230418" cy="338547"/>
          </a:xfrm>
          <a:prstGeom prst="rect">
            <a:avLst/>
          </a:prstGeom>
        </p:spPr>
        <p:txBody>
          <a:bodyPr wrap="none" lIns="91403" tIns="45703" rIns="91403" bIns="45703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adership Program Fellows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22609" y="249996"/>
            <a:ext cx="11770610" cy="400075"/>
          </a:xfrm>
          <a:prstGeom prst="rect">
            <a:avLst/>
          </a:prstGeom>
        </p:spPr>
        <p:txBody>
          <a:bodyPr wrap="square" lIns="91403" tIns="45703" rIns="91403" bIns="45703">
            <a:spAutoFit/>
          </a:bodyPr>
          <a:lstStyle/>
          <a:p>
            <a:r>
              <a:rPr lang="en-US" sz="2000" dirty="0" smtClean="0">
                <a:solidFill>
                  <a:prstClr val="black"/>
                </a:solidFill>
                <a:latin typeface="Calibri" panose="020F0502020204030204" pitchFamily="34" charset="0"/>
              </a:rPr>
              <a:t>This year</a:t>
            </a:r>
            <a:r>
              <a:rPr lang="en-US" sz="2000" dirty="0">
                <a:solidFill>
                  <a:prstClr val="black"/>
                </a:solidFill>
                <a:latin typeface="Calibri" panose="020F0502020204030204" pitchFamily="34" charset="0"/>
              </a:rPr>
              <a:t>, Relay </a:t>
            </a:r>
            <a:r>
              <a:rPr lang="en-US" sz="2000" dirty="0" smtClean="0">
                <a:solidFill>
                  <a:prstClr val="black"/>
                </a:solidFill>
                <a:latin typeface="Calibri" panose="020F0502020204030204" pitchFamily="34" charset="0"/>
              </a:rPr>
              <a:t>is preparing teachers at </a:t>
            </a:r>
            <a:r>
              <a:rPr lang="en-US" sz="2000" dirty="0" smtClean="0">
                <a:solidFill>
                  <a:srgbClr val="234B8D"/>
                </a:solidFill>
                <a:latin typeface="Calibri" panose="020F0502020204030204" pitchFamily="34" charset="0"/>
              </a:rPr>
              <a:t>12 campuses </a:t>
            </a:r>
            <a:r>
              <a:rPr lang="en-US" sz="2000" dirty="0">
                <a:solidFill>
                  <a:prstClr val="black"/>
                </a:solidFill>
                <a:latin typeface="Calibri" panose="020F0502020204030204" pitchFamily="34" charset="0"/>
              </a:rPr>
              <a:t>and </a:t>
            </a:r>
            <a:r>
              <a:rPr lang="en-US" sz="2000" dirty="0" smtClean="0">
                <a:solidFill>
                  <a:prstClr val="black"/>
                </a:solidFill>
                <a:latin typeface="Calibri" panose="020F0502020204030204" pitchFamily="34" charset="0"/>
              </a:rPr>
              <a:t>developing school </a:t>
            </a:r>
            <a:r>
              <a:rPr lang="en-US" sz="2000" dirty="0">
                <a:solidFill>
                  <a:prstClr val="black"/>
                </a:solidFill>
                <a:latin typeface="Calibri" panose="020F0502020204030204" pitchFamily="34" charset="0"/>
              </a:rPr>
              <a:t>leaders in </a:t>
            </a:r>
            <a:r>
              <a:rPr lang="en-US" sz="2000" dirty="0">
                <a:solidFill>
                  <a:srgbClr val="B30838"/>
                </a:solidFill>
                <a:latin typeface="Calibri" panose="020F0502020204030204" pitchFamily="34" charset="0"/>
              </a:rPr>
              <a:t>24 U.S. </a:t>
            </a:r>
            <a:r>
              <a:rPr lang="en-US" sz="2000" dirty="0" smtClean="0">
                <a:solidFill>
                  <a:srgbClr val="B30838"/>
                </a:solidFill>
                <a:latin typeface="Calibri" panose="020F0502020204030204" pitchFamily="34" charset="0"/>
              </a:rPr>
              <a:t>states and D.C.</a:t>
            </a:r>
            <a:endParaRPr lang="en-US" sz="2000" dirty="0">
              <a:solidFill>
                <a:srgbClr val="B30838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6758" y="1891657"/>
            <a:ext cx="1494307" cy="1494307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8174793" y="1227099"/>
            <a:ext cx="3684993" cy="4957713"/>
            <a:chOff x="8392621" y="1155932"/>
            <a:chExt cx="3684994" cy="4957713"/>
          </a:xfrm>
        </p:grpSpPr>
        <p:grpSp>
          <p:nvGrpSpPr>
            <p:cNvPr id="277" name="Group 276"/>
            <p:cNvGrpSpPr>
              <a:grpSpLocks noChangeAspect="1"/>
            </p:cNvGrpSpPr>
            <p:nvPr/>
          </p:nvGrpSpPr>
          <p:grpSpPr>
            <a:xfrm>
              <a:off x="8392621" y="1155932"/>
              <a:ext cx="3147490" cy="4957713"/>
              <a:chOff x="9141196" y="1441834"/>
              <a:chExt cx="1638006" cy="2580076"/>
            </a:xfrm>
          </p:grpSpPr>
          <p:sp>
            <p:nvSpPr>
              <p:cNvPr id="300" name="Freeform 3053"/>
              <p:cNvSpPr>
                <a:spLocks/>
              </p:cNvSpPr>
              <p:nvPr/>
            </p:nvSpPr>
            <p:spPr bwMode="auto">
              <a:xfrm>
                <a:off x="10028920" y="2150100"/>
                <a:ext cx="150056" cy="5732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6" y="312"/>
                  </a:cxn>
                  <a:cxn ang="0">
                    <a:pos x="100" y="382"/>
                  </a:cxn>
                  <a:cxn ang="0">
                    <a:pos x="94" y="324"/>
                  </a:cxn>
                  <a:cxn ang="0">
                    <a:pos x="30" y="98"/>
                  </a:cxn>
                  <a:cxn ang="0">
                    <a:pos x="0" y="0"/>
                  </a:cxn>
                </a:cxnLst>
                <a:rect l="0" t="0" r="r" b="b"/>
                <a:pathLst>
                  <a:path w="100" h="382">
                    <a:moveTo>
                      <a:pt x="0" y="0"/>
                    </a:moveTo>
                    <a:lnTo>
                      <a:pt x="86" y="312"/>
                    </a:lnTo>
                    <a:lnTo>
                      <a:pt x="100" y="382"/>
                    </a:lnTo>
                    <a:lnTo>
                      <a:pt x="94" y="324"/>
                    </a:lnTo>
                    <a:lnTo>
                      <a:pt x="30" y="9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01" name="Freeform 3054"/>
              <p:cNvSpPr>
                <a:spLocks/>
              </p:cNvSpPr>
              <p:nvPr/>
            </p:nvSpPr>
            <p:spPr bwMode="auto">
              <a:xfrm>
                <a:off x="9365670" y="2099081"/>
                <a:ext cx="900339" cy="819309"/>
              </a:xfrm>
              <a:custGeom>
                <a:avLst/>
                <a:gdLst/>
                <a:ahLst/>
                <a:cxnLst>
                  <a:cxn ang="0">
                    <a:pos x="546" y="442"/>
                  </a:cxn>
                  <a:cxn ang="0">
                    <a:pos x="542" y="416"/>
                  </a:cxn>
                  <a:cxn ang="0">
                    <a:pos x="528" y="346"/>
                  </a:cxn>
                  <a:cxn ang="0">
                    <a:pos x="442" y="34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434" y="0"/>
                  </a:cxn>
                  <a:cxn ang="0">
                    <a:pos x="308" y="48"/>
                  </a:cxn>
                  <a:cxn ang="0">
                    <a:pos x="238" y="208"/>
                  </a:cxn>
                  <a:cxn ang="0">
                    <a:pos x="246" y="234"/>
                  </a:cxn>
                  <a:cxn ang="0">
                    <a:pos x="216" y="290"/>
                  </a:cxn>
                  <a:cxn ang="0">
                    <a:pos x="84" y="318"/>
                  </a:cxn>
                  <a:cxn ang="0">
                    <a:pos x="46" y="398"/>
                  </a:cxn>
                  <a:cxn ang="0">
                    <a:pos x="58" y="426"/>
                  </a:cxn>
                  <a:cxn ang="0">
                    <a:pos x="0" y="494"/>
                  </a:cxn>
                  <a:cxn ang="0">
                    <a:pos x="16" y="546"/>
                  </a:cxn>
                  <a:cxn ang="0">
                    <a:pos x="380" y="426"/>
                  </a:cxn>
                  <a:cxn ang="0">
                    <a:pos x="456" y="492"/>
                  </a:cxn>
                  <a:cxn ang="0">
                    <a:pos x="478" y="498"/>
                  </a:cxn>
                  <a:cxn ang="0">
                    <a:pos x="588" y="522"/>
                  </a:cxn>
                  <a:cxn ang="0">
                    <a:pos x="600" y="496"/>
                  </a:cxn>
                  <a:cxn ang="0">
                    <a:pos x="594" y="490"/>
                  </a:cxn>
                  <a:cxn ang="0">
                    <a:pos x="546" y="442"/>
                  </a:cxn>
                </a:cxnLst>
                <a:rect l="0" t="0" r="r" b="b"/>
                <a:pathLst>
                  <a:path w="600" h="546">
                    <a:moveTo>
                      <a:pt x="546" y="442"/>
                    </a:moveTo>
                    <a:lnTo>
                      <a:pt x="542" y="416"/>
                    </a:lnTo>
                    <a:lnTo>
                      <a:pt x="528" y="346"/>
                    </a:lnTo>
                    <a:lnTo>
                      <a:pt x="442" y="34"/>
                    </a:lnTo>
                    <a:lnTo>
                      <a:pt x="434" y="0"/>
                    </a:lnTo>
                    <a:lnTo>
                      <a:pt x="434" y="0"/>
                    </a:lnTo>
                    <a:lnTo>
                      <a:pt x="434" y="0"/>
                    </a:lnTo>
                    <a:lnTo>
                      <a:pt x="308" y="48"/>
                    </a:lnTo>
                    <a:lnTo>
                      <a:pt x="238" y="208"/>
                    </a:lnTo>
                    <a:lnTo>
                      <a:pt x="246" y="234"/>
                    </a:lnTo>
                    <a:lnTo>
                      <a:pt x="216" y="290"/>
                    </a:lnTo>
                    <a:lnTo>
                      <a:pt x="84" y="318"/>
                    </a:lnTo>
                    <a:lnTo>
                      <a:pt x="46" y="398"/>
                    </a:lnTo>
                    <a:lnTo>
                      <a:pt x="58" y="426"/>
                    </a:lnTo>
                    <a:lnTo>
                      <a:pt x="0" y="494"/>
                    </a:lnTo>
                    <a:lnTo>
                      <a:pt x="16" y="546"/>
                    </a:lnTo>
                    <a:lnTo>
                      <a:pt x="380" y="426"/>
                    </a:lnTo>
                    <a:lnTo>
                      <a:pt x="456" y="492"/>
                    </a:lnTo>
                    <a:lnTo>
                      <a:pt x="478" y="498"/>
                    </a:lnTo>
                    <a:lnTo>
                      <a:pt x="588" y="522"/>
                    </a:lnTo>
                    <a:lnTo>
                      <a:pt x="600" y="496"/>
                    </a:lnTo>
                    <a:lnTo>
                      <a:pt x="594" y="490"/>
                    </a:lnTo>
                    <a:lnTo>
                      <a:pt x="546" y="44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04" name="Freeform 3055"/>
              <p:cNvSpPr>
                <a:spLocks/>
              </p:cNvSpPr>
              <p:nvPr/>
            </p:nvSpPr>
            <p:spPr bwMode="auto">
              <a:xfrm>
                <a:off x="10407062" y="2306159"/>
                <a:ext cx="60023" cy="42015"/>
              </a:xfrm>
              <a:custGeom>
                <a:avLst/>
                <a:gdLst/>
                <a:ahLst/>
                <a:cxnLst>
                  <a:cxn ang="0">
                    <a:pos x="40" y="28"/>
                  </a:cxn>
                  <a:cxn ang="0">
                    <a:pos x="40" y="24"/>
                  </a:cxn>
                  <a:cxn ang="0">
                    <a:pos x="0" y="0"/>
                  </a:cxn>
                  <a:cxn ang="0">
                    <a:pos x="40" y="28"/>
                  </a:cxn>
                </a:cxnLst>
                <a:rect l="0" t="0" r="r" b="b"/>
                <a:pathLst>
                  <a:path w="40" h="28">
                    <a:moveTo>
                      <a:pt x="40" y="28"/>
                    </a:moveTo>
                    <a:lnTo>
                      <a:pt x="40" y="24"/>
                    </a:lnTo>
                    <a:lnTo>
                      <a:pt x="0" y="0"/>
                    </a:lnTo>
                    <a:lnTo>
                      <a:pt x="40" y="2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15" name="Freeform 3056"/>
              <p:cNvSpPr>
                <a:spLocks/>
              </p:cNvSpPr>
              <p:nvPr/>
            </p:nvSpPr>
            <p:spPr bwMode="auto">
              <a:xfrm>
                <a:off x="10217991" y="1441834"/>
                <a:ext cx="561211" cy="900339"/>
              </a:xfrm>
              <a:custGeom>
                <a:avLst/>
                <a:gdLst/>
                <a:ahLst/>
                <a:cxnLst>
                  <a:cxn ang="0">
                    <a:pos x="284" y="228"/>
                  </a:cxn>
                  <a:cxn ang="0">
                    <a:pos x="244" y="202"/>
                  </a:cxn>
                  <a:cxn ang="0">
                    <a:pos x="136" y="0"/>
                  </a:cxn>
                  <a:cxn ang="0">
                    <a:pos x="84" y="68"/>
                  </a:cxn>
                  <a:cxn ang="0">
                    <a:pos x="46" y="54"/>
                  </a:cxn>
                  <a:cxn ang="0">
                    <a:pos x="46" y="228"/>
                  </a:cxn>
                  <a:cxn ang="0">
                    <a:pos x="0" y="356"/>
                  </a:cxn>
                  <a:cxn ang="0">
                    <a:pos x="126" y="576"/>
                  </a:cxn>
                  <a:cxn ang="0">
                    <a:pos x="166" y="600"/>
                  </a:cxn>
                  <a:cxn ang="0">
                    <a:pos x="166" y="540"/>
                  </a:cxn>
                  <a:cxn ang="0">
                    <a:pos x="244" y="404"/>
                  </a:cxn>
                  <a:cxn ang="0">
                    <a:pos x="294" y="378"/>
                  </a:cxn>
                  <a:cxn ang="0">
                    <a:pos x="294" y="336"/>
                  </a:cxn>
                  <a:cxn ang="0">
                    <a:pos x="374" y="202"/>
                  </a:cxn>
                  <a:cxn ang="0">
                    <a:pos x="284" y="228"/>
                  </a:cxn>
                </a:cxnLst>
                <a:rect l="0" t="0" r="r" b="b"/>
                <a:pathLst>
                  <a:path w="374" h="600">
                    <a:moveTo>
                      <a:pt x="284" y="228"/>
                    </a:moveTo>
                    <a:lnTo>
                      <a:pt x="244" y="202"/>
                    </a:lnTo>
                    <a:lnTo>
                      <a:pt x="136" y="0"/>
                    </a:lnTo>
                    <a:lnTo>
                      <a:pt x="84" y="68"/>
                    </a:lnTo>
                    <a:lnTo>
                      <a:pt x="46" y="54"/>
                    </a:lnTo>
                    <a:lnTo>
                      <a:pt x="46" y="228"/>
                    </a:lnTo>
                    <a:lnTo>
                      <a:pt x="0" y="356"/>
                    </a:lnTo>
                    <a:lnTo>
                      <a:pt x="126" y="576"/>
                    </a:lnTo>
                    <a:lnTo>
                      <a:pt x="166" y="600"/>
                    </a:lnTo>
                    <a:lnTo>
                      <a:pt x="166" y="540"/>
                    </a:lnTo>
                    <a:lnTo>
                      <a:pt x="244" y="404"/>
                    </a:lnTo>
                    <a:lnTo>
                      <a:pt x="294" y="378"/>
                    </a:lnTo>
                    <a:lnTo>
                      <a:pt x="294" y="336"/>
                    </a:lnTo>
                    <a:lnTo>
                      <a:pt x="374" y="202"/>
                    </a:lnTo>
                    <a:lnTo>
                      <a:pt x="284" y="22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16" name="Freeform 3057"/>
              <p:cNvSpPr>
                <a:spLocks/>
              </p:cNvSpPr>
              <p:nvPr/>
            </p:nvSpPr>
            <p:spPr bwMode="auto">
              <a:xfrm>
                <a:off x="10019916" y="2036057"/>
                <a:ext cx="177068" cy="507191"/>
              </a:xfrm>
              <a:custGeom>
                <a:avLst/>
                <a:gdLst/>
                <a:ahLst/>
                <a:cxnLst>
                  <a:cxn ang="0">
                    <a:pos x="110" y="84"/>
                  </a:cxn>
                  <a:cxn ang="0">
                    <a:pos x="110" y="84"/>
                  </a:cxn>
                  <a:cxn ang="0">
                    <a:pos x="112" y="64"/>
                  </a:cxn>
                  <a:cxn ang="0">
                    <a:pos x="112" y="42"/>
                  </a:cxn>
                  <a:cxn ang="0">
                    <a:pos x="110" y="20"/>
                  </a:cxn>
                  <a:cxn ang="0">
                    <a:pos x="106" y="0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2"/>
                  </a:cxn>
                  <a:cxn ang="0">
                    <a:pos x="40" y="174"/>
                  </a:cxn>
                  <a:cxn ang="0">
                    <a:pos x="80" y="318"/>
                  </a:cxn>
                  <a:cxn ang="0">
                    <a:pos x="86" y="338"/>
                  </a:cxn>
                  <a:cxn ang="0">
                    <a:pos x="86" y="338"/>
                  </a:cxn>
                  <a:cxn ang="0">
                    <a:pos x="118" y="330"/>
                  </a:cxn>
                  <a:cxn ang="0">
                    <a:pos x="118" y="330"/>
                  </a:cxn>
                  <a:cxn ang="0">
                    <a:pos x="110" y="302"/>
                  </a:cxn>
                  <a:cxn ang="0">
                    <a:pos x="106" y="270"/>
                  </a:cxn>
                  <a:cxn ang="0">
                    <a:pos x="104" y="234"/>
                  </a:cxn>
                  <a:cxn ang="0">
                    <a:pos x="104" y="198"/>
                  </a:cxn>
                  <a:cxn ang="0">
                    <a:pos x="106" y="132"/>
                  </a:cxn>
                  <a:cxn ang="0">
                    <a:pos x="108" y="104"/>
                  </a:cxn>
                  <a:cxn ang="0">
                    <a:pos x="110" y="84"/>
                  </a:cxn>
                  <a:cxn ang="0">
                    <a:pos x="110" y="84"/>
                  </a:cxn>
                </a:cxnLst>
                <a:rect l="0" t="0" r="r" b="b"/>
                <a:pathLst>
                  <a:path w="118" h="338">
                    <a:moveTo>
                      <a:pt x="110" y="84"/>
                    </a:moveTo>
                    <a:lnTo>
                      <a:pt x="110" y="84"/>
                    </a:lnTo>
                    <a:lnTo>
                      <a:pt x="112" y="64"/>
                    </a:lnTo>
                    <a:lnTo>
                      <a:pt x="112" y="42"/>
                    </a:lnTo>
                    <a:lnTo>
                      <a:pt x="110" y="20"/>
                    </a:lnTo>
                    <a:lnTo>
                      <a:pt x="106" y="0"/>
                    </a:lnTo>
                    <a:lnTo>
                      <a:pt x="0" y="40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40" y="174"/>
                    </a:lnTo>
                    <a:lnTo>
                      <a:pt x="80" y="318"/>
                    </a:lnTo>
                    <a:lnTo>
                      <a:pt x="86" y="338"/>
                    </a:lnTo>
                    <a:lnTo>
                      <a:pt x="86" y="338"/>
                    </a:lnTo>
                    <a:lnTo>
                      <a:pt x="118" y="330"/>
                    </a:lnTo>
                    <a:lnTo>
                      <a:pt x="118" y="330"/>
                    </a:lnTo>
                    <a:lnTo>
                      <a:pt x="110" y="302"/>
                    </a:lnTo>
                    <a:lnTo>
                      <a:pt x="106" y="270"/>
                    </a:lnTo>
                    <a:lnTo>
                      <a:pt x="104" y="234"/>
                    </a:lnTo>
                    <a:lnTo>
                      <a:pt x="104" y="198"/>
                    </a:lnTo>
                    <a:lnTo>
                      <a:pt x="106" y="132"/>
                    </a:lnTo>
                    <a:lnTo>
                      <a:pt x="108" y="104"/>
                    </a:lnTo>
                    <a:lnTo>
                      <a:pt x="110" y="84"/>
                    </a:lnTo>
                    <a:lnTo>
                      <a:pt x="110" y="8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17" name="Freeform 3058"/>
              <p:cNvSpPr>
                <a:spLocks/>
              </p:cNvSpPr>
              <p:nvPr/>
            </p:nvSpPr>
            <p:spPr bwMode="auto">
              <a:xfrm>
                <a:off x="10175975" y="1973034"/>
                <a:ext cx="294110" cy="558210"/>
              </a:xfrm>
              <a:custGeom>
                <a:avLst/>
                <a:gdLst/>
                <a:ahLst/>
                <a:cxnLst>
                  <a:cxn ang="0">
                    <a:pos x="156" y="224"/>
                  </a:cxn>
                  <a:cxn ang="0">
                    <a:pos x="30" y="6"/>
                  </a:cxn>
                  <a:cxn ang="0">
                    <a:pos x="30" y="4"/>
                  </a:cxn>
                  <a:cxn ang="0">
                    <a:pos x="156" y="222"/>
                  </a:cxn>
                  <a:cxn ang="0">
                    <a:pos x="30" y="0"/>
                  </a:cxn>
                  <a:cxn ang="0">
                    <a:pos x="16" y="36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6" y="62"/>
                  </a:cxn>
                  <a:cxn ang="0">
                    <a:pos x="8" y="84"/>
                  </a:cxn>
                  <a:cxn ang="0">
                    <a:pos x="8" y="106"/>
                  </a:cxn>
                  <a:cxn ang="0">
                    <a:pos x="6" y="126"/>
                  </a:cxn>
                  <a:cxn ang="0">
                    <a:pos x="6" y="126"/>
                  </a:cxn>
                  <a:cxn ang="0">
                    <a:pos x="4" y="146"/>
                  </a:cxn>
                  <a:cxn ang="0">
                    <a:pos x="2" y="174"/>
                  </a:cxn>
                  <a:cxn ang="0">
                    <a:pos x="0" y="240"/>
                  </a:cxn>
                  <a:cxn ang="0">
                    <a:pos x="0" y="276"/>
                  </a:cxn>
                  <a:cxn ang="0">
                    <a:pos x="2" y="312"/>
                  </a:cxn>
                  <a:cxn ang="0">
                    <a:pos x="6" y="344"/>
                  </a:cxn>
                  <a:cxn ang="0">
                    <a:pos x="14" y="372"/>
                  </a:cxn>
                  <a:cxn ang="0">
                    <a:pos x="14" y="372"/>
                  </a:cxn>
                  <a:cxn ang="0">
                    <a:pos x="44" y="362"/>
                  </a:cxn>
                  <a:cxn ang="0">
                    <a:pos x="74" y="350"/>
                  </a:cxn>
                  <a:cxn ang="0">
                    <a:pos x="100" y="334"/>
                  </a:cxn>
                  <a:cxn ang="0">
                    <a:pos x="114" y="326"/>
                  </a:cxn>
                  <a:cxn ang="0">
                    <a:pos x="124" y="316"/>
                  </a:cxn>
                  <a:cxn ang="0">
                    <a:pos x="124" y="316"/>
                  </a:cxn>
                  <a:cxn ang="0">
                    <a:pos x="134" y="308"/>
                  </a:cxn>
                  <a:cxn ang="0">
                    <a:pos x="144" y="300"/>
                  </a:cxn>
                  <a:cxn ang="0">
                    <a:pos x="154" y="296"/>
                  </a:cxn>
                  <a:cxn ang="0">
                    <a:pos x="164" y="292"/>
                  </a:cxn>
                  <a:cxn ang="0">
                    <a:pos x="182" y="288"/>
                  </a:cxn>
                  <a:cxn ang="0">
                    <a:pos x="196" y="288"/>
                  </a:cxn>
                  <a:cxn ang="0">
                    <a:pos x="196" y="250"/>
                  </a:cxn>
                  <a:cxn ang="0">
                    <a:pos x="156" y="224"/>
                  </a:cxn>
                </a:cxnLst>
                <a:rect l="0" t="0" r="r" b="b"/>
                <a:pathLst>
                  <a:path w="196" h="372">
                    <a:moveTo>
                      <a:pt x="156" y="224"/>
                    </a:moveTo>
                    <a:lnTo>
                      <a:pt x="30" y="6"/>
                    </a:lnTo>
                    <a:lnTo>
                      <a:pt x="30" y="4"/>
                    </a:lnTo>
                    <a:lnTo>
                      <a:pt x="156" y="222"/>
                    </a:lnTo>
                    <a:lnTo>
                      <a:pt x="30" y="0"/>
                    </a:lnTo>
                    <a:lnTo>
                      <a:pt x="16" y="36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6" y="62"/>
                    </a:lnTo>
                    <a:lnTo>
                      <a:pt x="8" y="84"/>
                    </a:lnTo>
                    <a:lnTo>
                      <a:pt x="8" y="106"/>
                    </a:lnTo>
                    <a:lnTo>
                      <a:pt x="6" y="126"/>
                    </a:lnTo>
                    <a:lnTo>
                      <a:pt x="6" y="126"/>
                    </a:lnTo>
                    <a:lnTo>
                      <a:pt x="4" y="146"/>
                    </a:lnTo>
                    <a:lnTo>
                      <a:pt x="2" y="174"/>
                    </a:lnTo>
                    <a:lnTo>
                      <a:pt x="0" y="240"/>
                    </a:lnTo>
                    <a:lnTo>
                      <a:pt x="0" y="276"/>
                    </a:lnTo>
                    <a:lnTo>
                      <a:pt x="2" y="312"/>
                    </a:lnTo>
                    <a:lnTo>
                      <a:pt x="6" y="344"/>
                    </a:lnTo>
                    <a:lnTo>
                      <a:pt x="14" y="372"/>
                    </a:lnTo>
                    <a:lnTo>
                      <a:pt x="14" y="372"/>
                    </a:lnTo>
                    <a:lnTo>
                      <a:pt x="44" y="362"/>
                    </a:lnTo>
                    <a:lnTo>
                      <a:pt x="74" y="350"/>
                    </a:lnTo>
                    <a:lnTo>
                      <a:pt x="100" y="334"/>
                    </a:lnTo>
                    <a:lnTo>
                      <a:pt x="114" y="326"/>
                    </a:lnTo>
                    <a:lnTo>
                      <a:pt x="124" y="316"/>
                    </a:lnTo>
                    <a:lnTo>
                      <a:pt x="124" y="316"/>
                    </a:lnTo>
                    <a:lnTo>
                      <a:pt x="134" y="308"/>
                    </a:lnTo>
                    <a:lnTo>
                      <a:pt x="144" y="300"/>
                    </a:lnTo>
                    <a:lnTo>
                      <a:pt x="154" y="296"/>
                    </a:lnTo>
                    <a:lnTo>
                      <a:pt x="164" y="292"/>
                    </a:lnTo>
                    <a:lnTo>
                      <a:pt x="182" y="288"/>
                    </a:lnTo>
                    <a:lnTo>
                      <a:pt x="196" y="288"/>
                    </a:lnTo>
                    <a:lnTo>
                      <a:pt x="196" y="250"/>
                    </a:lnTo>
                    <a:lnTo>
                      <a:pt x="156" y="22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18" name="Freeform 3059"/>
              <p:cNvSpPr>
                <a:spLocks/>
              </p:cNvSpPr>
              <p:nvPr/>
            </p:nvSpPr>
            <p:spPr bwMode="auto">
              <a:xfrm>
                <a:off x="10169972" y="2567257"/>
                <a:ext cx="249094" cy="273102"/>
              </a:xfrm>
              <a:custGeom>
                <a:avLst/>
                <a:gdLst/>
                <a:ahLst/>
                <a:cxnLst>
                  <a:cxn ang="0">
                    <a:pos x="2" y="46"/>
                  </a:cxn>
                  <a:cxn ang="0">
                    <a:pos x="12" y="128"/>
                  </a:cxn>
                  <a:cxn ang="0">
                    <a:pos x="64" y="182"/>
                  </a:cxn>
                  <a:cxn ang="0">
                    <a:pos x="60" y="178"/>
                  </a:cxn>
                  <a:cxn ang="0">
                    <a:pos x="64" y="182"/>
                  </a:cxn>
                  <a:cxn ang="0">
                    <a:pos x="66" y="178"/>
                  </a:cxn>
                  <a:cxn ang="0">
                    <a:pos x="150" y="138"/>
                  </a:cxn>
                  <a:cxn ang="0">
                    <a:pos x="164" y="138"/>
                  </a:cxn>
                  <a:cxn ang="0">
                    <a:pos x="166" y="138"/>
                  </a:cxn>
                  <a:cxn ang="0">
                    <a:pos x="138" y="0"/>
                  </a:cxn>
                  <a:cxn ang="0">
                    <a:pos x="0" y="44"/>
                  </a:cxn>
                  <a:cxn ang="0">
                    <a:pos x="2" y="46"/>
                  </a:cxn>
                </a:cxnLst>
                <a:rect l="0" t="0" r="r" b="b"/>
                <a:pathLst>
                  <a:path w="166" h="182">
                    <a:moveTo>
                      <a:pt x="2" y="46"/>
                    </a:moveTo>
                    <a:lnTo>
                      <a:pt x="12" y="128"/>
                    </a:lnTo>
                    <a:lnTo>
                      <a:pt x="64" y="182"/>
                    </a:lnTo>
                    <a:lnTo>
                      <a:pt x="60" y="178"/>
                    </a:lnTo>
                    <a:lnTo>
                      <a:pt x="64" y="182"/>
                    </a:lnTo>
                    <a:lnTo>
                      <a:pt x="66" y="178"/>
                    </a:lnTo>
                    <a:lnTo>
                      <a:pt x="150" y="138"/>
                    </a:lnTo>
                    <a:lnTo>
                      <a:pt x="164" y="138"/>
                    </a:lnTo>
                    <a:lnTo>
                      <a:pt x="166" y="138"/>
                    </a:lnTo>
                    <a:lnTo>
                      <a:pt x="138" y="0"/>
                    </a:lnTo>
                    <a:lnTo>
                      <a:pt x="0" y="44"/>
                    </a:lnTo>
                    <a:lnTo>
                      <a:pt x="2" y="4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19" name="Freeform 3060"/>
              <p:cNvSpPr>
                <a:spLocks/>
              </p:cNvSpPr>
              <p:nvPr/>
            </p:nvSpPr>
            <p:spPr bwMode="auto">
              <a:xfrm>
                <a:off x="10145965" y="2408198"/>
                <a:ext cx="501188" cy="228085"/>
              </a:xfrm>
              <a:custGeom>
                <a:avLst/>
                <a:gdLst/>
                <a:ahLst/>
                <a:cxnLst>
                  <a:cxn ang="0">
                    <a:pos x="292" y="16"/>
                  </a:cxn>
                  <a:cxn ang="0">
                    <a:pos x="264" y="68"/>
                  </a:cxn>
                  <a:cxn ang="0">
                    <a:pos x="214" y="2"/>
                  </a:cxn>
                  <a:cxn ang="0">
                    <a:pos x="214" y="0"/>
                  </a:cxn>
                  <a:cxn ang="0">
                    <a:pos x="214" y="0"/>
                  </a:cxn>
                  <a:cxn ang="0">
                    <a:pos x="202" y="0"/>
                  </a:cxn>
                  <a:cxn ang="0">
                    <a:pos x="184" y="2"/>
                  </a:cxn>
                  <a:cxn ang="0">
                    <a:pos x="174" y="6"/>
                  </a:cxn>
                  <a:cxn ang="0">
                    <a:pos x="162" y="12"/>
                  </a:cxn>
                  <a:cxn ang="0">
                    <a:pos x="152" y="18"/>
                  </a:cxn>
                  <a:cxn ang="0">
                    <a:pos x="142" y="26"/>
                  </a:cxn>
                  <a:cxn ang="0">
                    <a:pos x="142" y="26"/>
                  </a:cxn>
                  <a:cxn ang="0">
                    <a:pos x="128" y="38"/>
                  </a:cxn>
                  <a:cxn ang="0">
                    <a:pos x="112" y="50"/>
                  </a:cxn>
                  <a:cxn ang="0">
                    <a:pos x="96" y="60"/>
                  </a:cxn>
                  <a:cxn ang="0">
                    <a:pos x="76" y="68"/>
                  </a:cxn>
                  <a:cxn ang="0">
                    <a:pos x="38" y="82"/>
                  </a:cxn>
                  <a:cxn ang="0">
                    <a:pos x="0" y="90"/>
                  </a:cxn>
                  <a:cxn ang="0">
                    <a:pos x="16" y="150"/>
                  </a:cxn>
                  <a:cxn ang="0">
                    <a:pos x="154" y="106"/>
                  </a:cxn>
                  <a:cxn ang="0">
                    <a:pos x="154" y="102"/>
                  </a:cxn>
                  <a:cxn ang="0">
                    <a:pos x="170" y="96"/>
                  </a:cxn>
                  <a:cxn ang="0">
                    <a:pos x="206" y="82"/>
                  </a:cxn>
                  <a:cxn ang="0">
                    <a:pos x="242" y="122"/>
                  </a:cxn>
                  <a:cxn ang="0">
                    <a:pos x="244" y="122"/>
                  </a:cxn>
                  <a:cxn ang="0">
                    <a:pos x="254" y="152"/>
                  </a:cxn>
                  <a:cxn ang="0">
                    <a:pos x="334" y="152"/>
                  </a:cxn>
                  <a:cxn ang="0">
                    <a:pos x="334" y="84"/>
                  </a:cxn>
                  <a:cxn ang="0">
                    <a:pos x="292" y="16"/>
                  </a:cxn>
                </a:cxnLst>
                <a:rect l="0" t="0" r="r" b="b"/>
                <a:pathLst>
                  <a:path w="334" h="152">
                    <a:moveTo>
                      <a:pt x="292" y="16"/>
                    </a:moveTo>
                    <a:lnTo>
                      <a:pt x="264" y="68"/>
                    </a:lnTo>
                    <a:lnTo>
                      <a:pt x="214" y="2"/>
                    </a:lnTo>
                    <a:lnTo>
                      <a:pt x="214" y="0"/>
                    </a:lnTo>
                    <a:lnTo>
                      <a:pt x="214" y="0"/>
                    </a:lnTo>
                    <a:lnTo>
                      <a:pt x="202" y="0"/>
                    </a:lnTo>
                    <a:lnTo>
                      <a:pt x="184" y="2"/>
                    </a:lnTo>
                    <a:lnTo>
                      <a:pt x="174" y="6"/>
                    </a:lnTo>
                    <a:lnTo>
                      <a:pt x="162" y="12"/>
                    </a:lnTo>
                    <a:lnTo>
                      <a:pt x="152" y="18"/>
                    </a:lnTo>
                    <a:lnTo>
                      <a:pt x="142" y="26"/>
                    </a:lnTo>
                    <a:lnTo>
                      <a:pt x="142" y="26"/>
                    </a:lnTo>
                    <a:lnTo>
                      <a:pt x="128" y="38"/>
                    </a:lnTo>
                    <a:lnTo>
                      <a:pt x="112" y="50"/>
                    </a:lnTo>
                    <a:lnTo>
                      <a:pt x="96" y="60"/>
                    </a:lnTo>
                    <a:lnTo>
                      <a:pt x="76" y="68"/>
                    </a:lnTo>
                    <a:lnTo>
                      <a:pt x="38" y="82"/>
                    </a:lnTo>
                    <a:lnTo>
                      <a:pt x="0" y="90"/>
                    </a:lnTo>
                    <a:lnTo>
                      <a:pt x="16" y="150"/>
                    </a:lnTo>
                    <a:lnTo>
                      <a:pt x="154" y="106"/>
                    </a:lnTo>
                    <a:lnTo>
                      <a:pt x="154" y="102"/>
                    </a:lnTo>
                    <a:lnTo>
                      <a:pt x="170" y="96"/>
                    </a:lnTo>
                    <a:lnTo>
                      <a:pt x="206" y="82"/>
                    </a:lnTo>
                    <a:lnTo>
                      <a:pt x="242" y="122"/>
                    </a:lnTo>
                    <a:lnTo>
                      <a:pt x="244" y="122"/>
                    </a:lnTo>
                    <a:lnTo>
                      <a:pt x="254" y="152"/>
                    </a:lnTo>
                    <a:lnTo>
                      <a:pt x="334" y="152"/>
                    </a:lnTo>
                    <a:lnTo>
                      <a:pt x="334" y="84"/>
                    </a:lnTo>
                    <a:lnTo>
                      <a:pt x="292" y="1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20" name="Freeform 2853"/>
              <p:cNvSpPr>
                <a:spLocks/>
              </p:cNvSpPr>
              <p:nvPr/>
            </p:nvSpPr>
            <p:spPr bwMode="auto">
              <a:xfrm>
                <a:off x="10419579" y="2779539"/>
                <a:ext cx="3001" cy="300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21" name="Freeform 2867"/>
              <p:cNvSpPr>
                <a:spLocks/>
              </p:cNvSpPr>
              <p:nvPr/>
            </p:nvSpPr>
            <p:spPr bwMode="auto">
              <a:xfrm>
                <a:off x="10251529" y="2785541"/>
                <a:ext cx="165050" cy="114035"/>
              </a:xfrm>
              <a:custGeom>
                <a:avLst/>
                <a:gdLst/>
                <a:ahLst/>
                <a:cxnLst>
                  <a:cxn ang="0">
                    <a:pos x="14" y="38"/>
                  </a:cxn>
                  <a:cxn ang="0">
                    <a:pos x="0" y="76"/>
                  </a:cxn>
                  <a:cxn ang="0">
                    <a:pos x="46" y="52"/>
                  </a:cxn>
                  <a:cxn ang="0">
                    <a:pos x="106" y="12"/>
                  </a:cxn>
                  <a:cxn ang="0">
                    <a:pos x="110" y="0"/>
                  </a:cxn>
                  <a:cxn ang="0">
                    <a:pos x="98" y="0"/>
                  </a:cxn>
                  <a:cxn ang="0">
                    <a:pos x="14" y="38"/>
                  </a:cxn>
                </a:cxnLst>
                <a:rect l="0" t="0" r="r" b="b"/>
                <a:pathLst>
                  <a:path w="110" h="76">
                    <a:moveTo>
                      <a:pt x="14" y="38"/>
                    </a:moveTo>
                    <a:lnTo>
                      <a:pt x="0" y="76"/>
                    </a:lnTo>
                    <a:lnTo>
                      <a:pt x="46" y="52"/>
                    </a:lnTo>
                    <a:lnTo>
                      <a:pt x="106" y="12"/>
                    </a:lnTo>
                    <a:lnTo>
                      <a:pt x="110" y="0"/>
                    </a:lnTo>
                    <a:lnTo>
                      <a:pt x="98" y="0"/>
                    </a:lnTo>
                    <a:lnTo>
                      <a:pt x="14" y="3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22" name="Freeform 2871"/>
              <p:cNvSpPr>
                <a:spLocks/>
              </p:cNvSpPr>
              <p:nvPr/>
            </p:nvSpPr>
            <p:spPr bwMode="auto">
              <a:xfrm>
                <a:off x="10383568" y="2539467"/>
                <a:ext cx="129039" cy="234070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26" y="156"/>
                  </a:cxn>
                  <a:cxn ang="0">
                    <a:pos x="48" y="108"/>
                  </a:cxn>
                  <a:cxn ang="0">
                    <a:pos x="86" y="40"/>
                  </a:cxn>
                  <a:cxn ang="0">
                    <a:pos x="50" y="0"/>
                  </a:cxn>
                  <a:cxn ang="0">
                    <a:pos x="0" y="18"/>
                  </a:cxn>
                </a:cxnLst>
                <a:rect l="0" t="0" r="r" b="b"/>
                <a:pathLst>
                  <a:path w="86" h="156">
                    <a:moveTo>
                      <a:pt x="0" y="18"/>
                    </a:moveTo>
                    <a:lnTo>
                      <a:pt x="26" y="156"/>
                    </a:lnTo>
                    <a:lnTo>
                      <a:pt x="48" y="108"/>
                    </a:lnTo>
                    <a:lnTo>
                      <a:pt x="86" y="40"/>
                    </a:lnTo>
                    <a:lnTo>
                      <a:pt x="50" y="0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23" name="Freeform 2872"/>
              <p:cNvSpPr>
                <a:spLocks/>
              </p:cNvSpPr>
              <p:nvPr/>
            </p:nvSpPr>
            <p:spPr bwMode="auto">
              <a:xfrm>
                <a:off x="9141196" y="3310697"/>
                <a:ext cx="1065319" cy="711213"/>
              </a:xfrm>
              <a:custGeom>
                <a:avLst/>
                <a:gdLst/>
                <a:ahLst/>
                <a:cxnLst>
                  <a:cxn ang="0">
                    <a:pos x="492" y="106"/>
                  </a:cxn>
                  <a:cxn ang="0">
                    <a:pos x="502" y="26"/>
                  </a:cxn>
                  <a:cxn ang="0">
                    <a:pos x="442" y="0"/>
                  </a:cxn>
                  <a:cxn ang="0">
                    <a:pos x="424" y="26"/>
                  </a:cxn>
                  <a:cxn ang="0">
                    <a:pos x="386" y="26"/>
                  </a:cxn>
                  <a:cxn ang="0">
                    <a:pos x="344" y="84"/>
                  </a:cxn>
                  <a:cxn ang="0">
                    <a:pos x="314" y="158"/>
                  </a:cxn>
                  <a:cxn ang="0">
                    <a:pos x="286" y="132"/>
                  </a:cxn>
                  <a:cxn ang="0">
                    <a:pos x="256" y="296"/>
                  </a:cxn>
                  <a:cxn ang="0">
                    <a:pos x="184" y="340"/>
                  </a:cxn>
                  <a:cxn ang="0">
                    <a:pos x="112" y="306"/>
                  </a:cxn>
                  <a:cxn ang="0">
                    <a:pos x="60" y="402"/>
                  </a:cxn>
                  <a:cxn ang="0">
                    <a:pos x="0" y="474"/>
                  </a:cxn>
                  <a:cxn ang="0">
                    <a:pos x="164" y="444"/>
                  </a:cxn>
                  <a:cxn ang="0">
                    <a:pos x="710" y="272"/>
                  </a:cxn>
                  <a:cxn ang="0">
                    <a:pos x="666" y="214"/>
                  </a:cxn>
                  <a:cxn ang="0">
                    <a:pos x="698" y="96"/>
                  </a:cxn>
                  <a:cxn ang="0">
                    <a:pos x="614" y="116"/>
                  </a:cxn>
                  <a:cxn ang="0">
                    <a:pos x="492" y="106"/>
                  </a:cxn>
                </a:cxnLst>
                <a:rect l="0" t="0" r="r" b="b"/>
                <a:pathLst>
                  <a:path w="710" h="474">
                    <a:moveTo>
                      <a:pt x="492" y="106"/>
                    </a:moveTo>
                    <a:lnTo>
                      <a:pt x="502" y="26"/>
                    </a:lnTo>
                    <a:lnTo>
                      <a:pt x="442" y="0"/>
                    </a:lnTo>
                    <a:lnTo>
                      <a:pt x="424" y="26"/>
                    </a:lnTo>
                    <a:lnTo>
                      <a:pt x="386" y="26"/>
                    </a:lnTo>
                    <a:lnTo>
                      <a:pt x="344" y="84"/>
                    </a:lnTo>
                    <a:lnTo>
                      <a:pt x="314" y="158"/>
                    </a:lnTo>
                    <a:lnTo>
                      <a:pt x="286" y="132"/>
                    </a:lnTo>
                    <a:lnTo>
                      <a:pt x="256" y="296"/>
                    </a:lnTo>
                    <a:lnTo>
                      <a:pt x="184" y="340"/>
                    </a:lnTo>
                    <a:lnTo>
                      <a:pt x="112" y="306"/>
                    </a:lnTo>
                    <a:lnTo>
                      <a:pt x="60" y="402"/>
                    </a:lnTo>
                    <a:lnTo>
                      <a:pt x="0" y="474"/>
                    </a:lnTo>
                    <a:lnTo>
                      <a:pt x="164" y="444"/>
                    </a:lnTo>
                    <a:lnTo>
                      <a:pt x="710" y="272"/>
                    </a:lnTo>
                    <a:lnTo>
                      <a:pt x="666" y="214"/>
                    </a:lnTo>
                    <a:lnTo>
                      <a:pt x="698" y="96"/>
                    </a:lnTo>
                    <a:lnTo>
                      <a:pt x="614" y="116"/>
                    </a:lnTo>
                    <a:lnTo>
                      <a:pt x="492" y="10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24" name="Freeform 2873"/>
              <p:cNvSpPr>
                <a:spLocks/>
              </p:cNvSpPr>
              <p:nvPr/>
            </p:nvSpPr>
            <p:spPr bwMode="auto">
              <a:xfrm>
                <a:off x="9537315" y="3148649"/>
                <a:ext cx="663199" cy="333100"/>
              </a:xfrm>
              <a:custGeom>
                <a:avLst/>
                <a:gdLst/>
                <a:ahLst/>
                <a:cxnLst>
                  <a:cxn ang="0">
                    <a:pos x="316" y="0"/>
                  </a:cxn>
                  <a:cxn ang="0">
                    <a:pos x="0" y="108"/>
                  </a:cxn>
                  <a:cxn ang="0">
                    <a:pos x="24" y="150"/>
                  </a:cxn>
                  <a:cxn ang="0">
                    <a:pos x="126" y="94"/>
                  </a:cxn>
                  <a:cxn ang="0">
                    <a:pos x="178" y="106"/>
                  </a:cxn>
                  <a:cxn ang="0">
                    <a:pos x="178" y="104"/>
                  </a:cxn>
                  <a:cxn ang="0">
                    <a:pos x="180" y="106"/>
                  </a:cxn>
                  <a:cxn ang="0">
                    <a:pos x="180" y="106"/>
                  </a:cxn>
                  <a:cxn ang="0">
                    <a:pos x="242" y="132"/>
                  </a:cxn>
                  <a:cxn ang="0">
                    <a:pos x="232" y="212"/>
                  </a:cxn>
                  <a:cxn ang="0">
                    <a:pos x="354" y="222"/>
                  </a:cxn>
                  <a:cxn ang="0">
                    <a:pos x="436" y="200"/>
                  </a:cxn>
                  <a:cxn ang="0">
                    <a:pos x="442" y="174"/>
                  </a:cxn>
                  <a:cxn ang="0">
                    <a:pos x="442" y="134"/>
                  </a:cxn>
                  <a:cxn ang="0">
                    <a:pos x="374" y="162"/>
                  </a:cxn>
                  <a:cxn ang="0">
                    <a:pos x="316" y="0"/>
                  </a:cxn>
                </a:cxnLst>
                <a:rect l="0" t="0" r="r" b="b"/>
                <a:pathLst>
                  <a:path w="442" h="222">
                    <a:moveTo>
                      <a:pt x="316" y="0"/>
                    </a:moveTo>
                    <a:lnTo>
                      <a:pt x="0" y="108"/>
                    </a:lnTo>
                    <a:lnTo>
                      <a:pt x="24" y="150"/>
                    </a:lnTo>
                    <a:lnTo>
                      <a:pt x="126" y="94"/>
                    </a:lnTo>
                    <a:lnTo>
                      <a:pt x="178" y="106"/>
                    </a:lnTo>
                    <a:lnTo>
                      <a:pt x="178" y="104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242" y="132"/>
                    </a:lnTo>
                    <a:lnTo>
                      <a:pt x="232" y="212"/>
                    </a:lnTo>
                    <a:lnTo>
                      <a:pt x="354" y="222"/>
                    </a:lnTo>
                    <a:lnTo>
                      <a:pt x="436" y="200"/>
                    </a:lnTo>
                    <a:lnTo>
                      <a:pt x="442" y="174"/>
                    </a:lnTo>
                    <a:lnTo>
                      <a:pt x="442" y="134"/>
                    </a:lnTo>
                    <a:lnTo>
                      <a:pt x="374" y="162"/>
                    </a:lnTo>
                    <a:lnTo>
                      <a:pt x="316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25" name="Freeform 2880"/>
              <p:cNvSpPr>
                <a:spLocks/>
              </p:cNvSpPr>
              <p:nvPr/>
            </p:nvSpPr>
            <p:spPr bwMode="auto">
              <a:xfrm>
                <a:off x="9306245" y="3763833"/>
                <a:ext cx="3001" cy="300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26" name="Freeform 2882"/>
              <p:cNvSpPr>
                <a:spLocks/>
              </p:cNvSpPr>
              <p:nvPr/>
            </p:nvSpPr>
            <p:spPr bwMode="auto">
              <a:xfrm>
                <a:off x="10200513" y="3244678"/>
                <a:ext cx="3001" cy="9003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2" y="6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2" y="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27" name="Freeform 2883"/>
              <p:cNvSpPr>
                <a:spLocks/>
              </p:cNvSpPr>
              <p:nvPr/>
            </p:nvSpPr>
            <p:spPr bwMode="auto">
              <a:xfrm>
                <a:off x="10056470" y="3133645"/>
                <a:ext cx="144044" cy="12003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96" y="80"/>
                  </a:cxn>
                  <a:cxn ang="0">
                    <a:pos x="96" y="74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96" h="80">
                    <a:moveTo>
                      <a:pt x="0" y="2"/>
                    </a:moveTo>
                    <a:lnTo>
                      <a:pt x="96" y="80"/>
                    </a:lnTo>
                    <a:lnTo>
                      <a:pt x="96" y="74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28" name="Freeform 2884"/>
              <p:cNvSpPr>
                <a:spLocks/>
              </p:cNvSpPr>
              <p:nvPr/>
            </p:nvSpPr>
            <p:spPr bwMode="auto">
              <a:xfrm>
                <a:off x="10248528" y="2899575"/>
                <a:ext cx="3001" cy="3001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29" name="Freeform 2885"/>
              <p:cNvSpPr>
                <a:spLocks/>
              </p:cNvSpPr>
              <p:nvPr/>
            </p:nvSpPr>
            <p:spPr bwMode="auto">
              <a:xfrm>
                <a:off x="10416578" y="2782540"/>
                <a:ext cx="9003" cy="3001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2">
                    <a:moveTo>
                      <a:pt x="4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30" name="Freeform 2886"/>
              <p:cNvSpPr>
                <a:spLocks/>
              </p:cNvSpPr>
              <p:nvPr/>
            </p:nvSpPr>
            <p:spPr bwMode="auto">
              <a:xfrm>
                <a:off x="10065472" y="2782540"/>
                <a:ext cx="354106" cy="120036"/>
              </a:xfrm>
              <a:custGeom>
                <a:avLst/>
                <a:gdLst/>
                <a:ahLst/>
                <a:cxnLst>
                  <a:cxn ang="0">
                    <a:pos x="222" y="0"/>
                  </a:cxn>
                  <a:cxn ang="0">
                    <a:pos x="136" y="40"/>
                  </a:cxn>
                  <a:cxn ang="0">
                    <a:pos x="124" y="70"/>
                  </a:cxn>
                  <a:cxn ang="0">
                    <a:pos x="0" y="42"/>
                  </a:cxn>
                  <a:cxn ang="0">
                    <a:pos x="0" y="44"/>
                  </a:cxn>
                  <a:cxn ang="0">
                    <a:pos x="124" y="72"/>
                  </a:cxn>
                  <a:cxn ang="0">
                    <a:pos x="122" y="80"/>
                  </a:cxn>
                  <a:cxn ang="0">
                    <a:pos x="124" y="78"/>
                  </a:cxn>
                  <a:cxn ang="0">
                    <a:pos x="138" y="40"/>
                  </a:cxn>
                  <a:cxn ang="0">
                    <a:pos x="222" y="2"/>
                  </a:cxn>
                  <a:cxn ang="0">
                    <a:pos x="234" y="2"/>
                  </a:cxn>
                  <a:cxn ang="0">
                    <a:pos x="236" y="0"/>
                  </a:cxn>
                  <a:cxn ang="0">
                    <a:pos x="222" y="0"/>
                  </a:cxn>
                </a:cxnLst>
                <a:rect l="0" t="0" r="r" b="b"/>
                <a:pathLst>
                  <a:path w="236" h="80">
                    <a:moveTo>
                      <a:pt x="222" y="0"/>
                    </a:moveTo>
                    <a:lnTo>
                      <a:pt x="136" y="40"/>
                    </a:lnTo>
                    <a:lnTo>
                      <a:pt x="124" y="70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124" y="72"/>
                    </a:lnTo>
                    <a:lnTo>
                      <a:pt x="122" y="80"/>
                    </a:lnTo>
                    <a:lnTo>
                      <a:pt x="124" y="78"/>
                    </a:lnTo>
                    <a:lnTo>
                      <a:pt x="138" y="40"/>
                    </a:lnTo>
                    <a:lnTo>
                      <a:pt x="222" y="2"/>
                    </a:lnTo>
                    <a:lnTo>
                      <a:pt x="234" y="2"/>
                    </a:lnTo>
                    <a:lnTo>
                      <a:pt x="236" y="0"/>
                    </a:lnTo>
                    <a:lnTo>
                      <a:pt x="22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31" name="Freeform 2926"/>
              <p:cNvSpPr>
                <a:spLocks/>
              </p:cNvSpPr>
              <p:nvPr/>
            </p:nvSpPr>
            <p:spPr bwMode="auto">
              <a:xfrm>
                <a:off x="10206515" y="3718819"/>
                <a:ext cx="6002" cy="6002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2" y="4"/>
                  </a:cxn>
                  <a:cxn ang="0">
                    <a:pos x="4" y="4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32" name="Freeform 2928"/>
              <p:cNvSpPr>
                <a:spLocks/>
              </p:cNvSpPr>
              <p:nvPr/>
            </p:nvSpPr>
            <p:spPr bwMode="auto">
              <a:xfrm>
                <a:off x="9384268" y="3976896"/>
                <a:ext cx="9003" cy="600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4" y="2"/>
                  </a:cxn>
                  <a:cxn ang="0">
                    <a:pos x="6" y="0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33" name="Freeform 2947"/>
              <p:cNvSpPr>
                <a:spLocks/>
              </p:cNvSpPr>
              <p:nvPr/>
            </p:nvSpPr>
            <p:spPr bwMode="auto">
              <a:xfrm>
                <a:off x="9804395" y="3304695"/>
                <a:ext cx="3001" cy="300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34" name="Freeform 2950"/>
              <p:cNvSpPr>
                <a:spLocks/>
              </p:cNvSpPr>
              <p:nvPr/>
            </p:nvSpPr>
            <p:spPr bwMode="auto">
              <a:xfrm>
                <a:off x="9309246" y="3310697"/>
                <a:ext cx="495149" cy="510152"/>
              </a:xfrm>
              <a:custGeom>
                <a:avLst/>
                <a:gdLst/>
                <a:ahLst/>
                <a:cxnLst>
                  <a:cxn ang="0">
                    <a:pos x="328" y="0"/>
                  </a:cxn>
                  <a:cxn ang="0">
                    <a:pos x="312" y="22"/>
                  </a:cxn>
                  <a:cxn ang="0">
                    <a:pos x="272" y="22"/>
                  </a:cxn>
                  <a:cxn ang="0">
                    <a:pos x="230" y="84"/>
                  </a:cxn>
                  <a:cxn ang="0">
                    <a:pos x="202" y="154"/>
                  </a:cxn>
                  <a:cxn ang="0">
                    <a:pos x="172" y="130"/>
                  </a:cxn>
                  <a:cxn ang="0">
                    <a:pos x="142" y="294"/>
                  </a:cxn>
                  <a:cxn ang="0">
                    <a:pos x="72" y="336"/>
                  </a:cxn>
                  <a:cxn ang="0">
                    <a:pos x="0" y="304"/>
                  </a:cxn>
                  <a:cxn ang="0">
                    <a:pos x="0" y="304"/>
                  </a:cxn>
                  <a:cxn ang="0">
                    <a:pos x="0" y="306"/>
                  </a:cxn>
                  <a:cxn ang="0">
                    <a:pos x="72" y="340"/>
                  </a:cxn>
                  <a:cxn ang="0">
                    <a:pos x="144" y="296"/>
                  </a:cxn>
                  <a:cxn ang="0">
                    <a:pos x="174" y="132"/>
                  </a:cxn>
                  <a:cxn ang="0">
                    <a:pos x="202" y="158"/>
                  </a:cxn>
                  <a:cxn ang="0">
                    <a:pos x="232" y="84"/>
                  </a:cxn>
                  <a:cxn ang="0">
                    <a:pos x="274" y="26"/>
                  </a:cxn>
                  <a:cxn ang="0">
                    <a:pos x="312" y="26"/>
                  </a:cxn>
                  <a:cxn ang="0">
                    <a:pos x="330" y="0"/>
                  </a:cxn>
                  <a:cxn ang="0">
                    <a:pos x="330" y="0"/>
                  </a:cxn>
                  <a:cxn ang="0">
                    <a:pos x="328" y="0"/>
                  </a:cxn>
                </a:cxnLst>
                <a:rect l="0" t="0" r="r" b="b"/>
                <a:pathLst>
                  <a:path w="330" h="340">
                    <a:moveTo>
                      <a:pt x="328" y="0"/>
                    </a:moveTo>
                    <a:lnTo>
                      <a:pt x="312" y="22"/>
                    </a:lnTo>
                    <a:lnTo>
                      <a:pt x="272" y="22"/>
                    </a:lnTo>
                    <a:lnTo>
                      <a:pt x="230" y="84"/>
                    </a:lnTo>
                    <a:lnTo>
                      <a:pt x="202" y="154"/>
                    </a:lnTo>
                    <a:lnTo>
                      <a:pt x="172" y="130"/>
                    </a:lnTo>
                    <a:lnTo>
                      <a:pt x="142" y="294"/>
                    </a:lnTo>
                    <a:lnTo>
                      <a:pt x="72" y="336"/>
                    </a:lnTo>
                    <a:lnTo>
                      <a:pt x="0" y="304"/>
                    </a:lnTo>
                    <a:lnTo>
                      <a:pt x="0" y="304"/>
                    </a:lnTo>
                    <a:lnTo>
                      <a:pt x="0" y="306"/>
                    </a:lnTo>
                    <a:lnTo>
                      <a:pt x="72" y="340"/>
                    </a:lnTo>
                    <a:lnTo>
                      <a:pt x="144" y="296"/>
                    </a:lnTo>
                    <a:lnTo>
                      <a:pt x="174" y="132"/>
                    </a:lnTo>
                    <a:lnTo>
                      <a:pt x="202" y="158"/>
                    </a:lnTo>
                    <a:lnTo>
                      <a:pt x="232" y="84"/>
                    </a:lnTo>
                    <a:lnTo>
                      <a:pt x="274" y="26"/>
                    </a:lnTo>
                    <a:lnTo>
                      <a:pt x="312" y="26"/>
                    </a:lnTo>
                    <a:lnTo>
                      <a:pt x="330" y="0"/>
                    </a:lnTo>
                    <a:lnTo>
                      <a:pt x="330" y="0"/>
                    </a:lnTo>
                    <a:lnTo>
                      <a:pt x="328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35" name="Freeform 2951"/>
              <p:cNvSpPr>
                <a:spLocks/>
              </p:cNvSpPr>
              <p:nvPr/>
            </p:nvSpPr>
            <p:spPr bwMode="auto">
              <a:xfrm>
                <a:off x="9303244" y="3763833"/>
                <a:ext cx="6002" cy="6002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4" y="2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36" name="Freeform 2953"/>
              <p:cNvSpPr>
                <a:spLocks/>
              </p:cNvSpPr>
              <p:nvPr/>
            </p:nvSpPr>
            <p:spPr bwMode="auto">
              <a:xfrm>
                <a:off x="10188510" y="3445738"/>
                <a:ext cx="6002" cy="9003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4" y="6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4" y="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37" name="Freeform 2954"/>
              <p:cNvSpPr>
                <a:spLocks/>
              </p:cNvSpPr>
              <p:nvPr/>
            </p:nvSpPr>
            <p:spPr bwMode="auto">
              <a:xfrm>
                <a:off x="9804395" y="3307696"/>
                <a:ext cx="387116" cy="177052"/>
              </a:xfrm>
              <a:custGeom>
                <a:avLst/>
                <a:gdLst/>
                <a:ahLst/>
                <a:cxnLst>
                  <a:cxn ang="0">
                    <a:pos x="54" y="106"/>
                  </a:cxn>
                  <a:cxn ang="0">
                    <a:pos x="64" y="26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60" y="28"/>
                  </a:cxn>
                  <a:cxn ang="0">
                    <a:pos x="50" y="108"/>
                  </a:cxn>
                  <a:cxn ang="0">
                    <a:pos x="172" y="118"/>
                  </a:cxn>
                  <a:cxn ang="0">
                    <a:pos x="256" y="98"/>
                  </a:cxn>
                  <a:cxn ang="0">
                    <a:pos x="258" y="94"/>
                  </a:cxn>
                  <a:cxn ang="0">
                    <a:pos x="176" y="116"/>
                  </a:cxn>
                  <a:cxn ang="0">
                    <a:pos x="54" y="106"/>
                  </a:cxn>
                </a:cxnLst>
                <a:rect l="0" t="0" r="r" b="b"/>
                <a:pathLst>
                  <a:path w="258" h="118">
                    <a:moveTo>
                      <a:pt x="54" y="106"/>
                    </a:moveTo>
                    <a:lnTo>
                      <a:pt x="64" y="26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60" y="28"/>
                    </a:lnTo>
                    <a:lnTo>
                      <a:pt x="50" y="108"/>
                    </a:lnTo>
                    <a:lnTo>
                      <a:pt x="172" y="118"/>
                    </a:lnTo>
                    <a:lnTo>
                      <a:pt x="256" y="98"/>
                    </a:lnTo>
                    <a:lnTo>
                      <a:pt x="258" y="94"/>
                    </a:lnTo>
                    <a:lnTo>
                      <a:pt x="176" y="116"/>
                    </a:lnTo>
                    <a:lnTo>
                      <a:pt x="54" y="10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38" name="Freeform 2955"/>
              <p:cNvSpPr>
                <a:spLocks/>
              </p:cNvSpPr>
              <p:nvPr/>
            </p:nvSpPr>
            <p:spPr bwMode="auto">
              <a:xfrm>
                <a:off x="9375266" y="3271686"/>
                <a:ext cx="429129" cy="108033"/>
              </a:xfrm>
              <a:custGeom>
                <a:avLst/>
                <a:gdLst/>
                <a:ahLst/>
                <a:cxnLst>
                  <a:cxn ang="0">
                    <a:pos x="18" y="56"/>
                  </a:cxn>
                  <a:cxn ang="0">
                    <a:pos x="106" y="26"/>
                  </a:cxn>
                  <a:cxn ang="0">
                    <a:pos x="132" y="72"/>
                  </a:cxn>
                  <a:cxn ang="0">
                    <a:pos x="238" y="16"/>
                  </a:cxn>
                  <a:cxn ang="0">
                    <a:pos x="284" y="26"/>
                  </a:cxn>
                  <a:cxn ang="0">
                    <a:pos x="286" y="24"/>
                  </a:cxn>
                  <a:cxn ang="0">
                    <a:pos x="234" y="12"/>
                  </a:cxn>
                  <a:cxn ang="0">
                    <a:pos x="132" y="68"/>
                  </a:cxn>
                  <a:cxn ang="0">
                    <a:pos x="108" y="26"/>
                  </a:cxn>
                  <a:cxn ang="0">
                    <a:pos x="108" y="26"/>
                  </a:cxn>
                  <a:cxn ang="0">
                    <a:pos x="106" y="24"/>
                  </a:cxn>
                  <a:cxn ang="0">
                    <a:pos x="20" y="5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18" y="56"/>
                  </a:cxn>
                </a:cxnLst>
                <a:rect l="0" t="0" r="r" b="b"/>
                <a:pathLst>
                  <a:path w="286" h="72">
                    <a:moveTo>
                      <a:pt x="18" y="56"/>
                    </a:moveTo>
                    <a:lnTo>
                      <a:pt x="106" y="26"/>
                    </a:lnTo>
                    <a:lnTo>
                      <a:pt x="132" y="72"/>
                    </a:lnTo>
                    <a:lnTo>
                      <a:pt x="238" y="16"/>
                    </a:lnTo>
                    <a:lnTo>
                      <a:pt x="284" y="26"/>
                    </a:lnTo>
                    <a:lnTo>
                      <a:pt x="286" y="24"/>
                    </a:lnTo>
                    <a:lnTo>
                      <a:pt x="234" y="12"/>
                    </a:lnTo>
                    <a:lnTo>
                      <a:pt x="132" y="68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6" y="24"/>
                    </a:lnTo>
                    <a:lnTo>
                      <a:pt x="20" y="5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18" y="5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39" name="Freeform 2956"/>
              <p:cNvSpPr>
                <a:spLocks/>
              </p:cNvSpPr>
              <p:nvPr/>
            </p:nvSpPr>
            <p:spPr bwMode="auto">
              <a:xfrm>
                <a:off x="9801394" y="3307696"/>
                <a:ext cx="6002" cy="3001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2" y="2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2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40" name="Rectangle 2957"/>
              <p:cNvSpPr>
                <a:spLocks noChangeArrowheads="1"/>
              </p:cNvSpPr>
              <p:nvPr/>
            </p:nvSpPr>
            <p:spPr bwMode="auto">
              <a:xfrm>
                <a:off x="9375266" y="3277687"/>
                <a:ext cx="1501" cy="300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41" name="Freeform 2958"/>
              <p:cNvSpPr>
                <a:spLocks/>
              </p:cNvSpPr>
              <p:nvPr/>
            </p:nvSpPr>
            <p:spPr bwMode="auto">
              <a:xfrm>
                <a:off x="9366263" y="2743528"/>
                <a:ext cx="735220" cy="405121"/>
              </a:xfrm>
              <a:custGeom>
                <a:avLst/>
                <a:gdLst/>
                <a:ahLst/>
                <a:cxnLst>
                  <a:cxn ang="0">
                    <a:pos x="462" y="258"/>
                  </a:cxn>
                  <a:cxn ang="0">
                    <a:pos x="490" y="190"/>
                  </a:cxn>
                  <a:cxn ang="0">
                    <a:pos x="452" y="138"/>
                  </a:cxn>
                  <a:cxn ang="0">
                    <a:pos x="462" y="68"/>
                  </a:cxn>
                  <a:cxn ang="0">
                    <a:pos x="382" y="0"/>
                  </a:cxn>
                  <a:cxn ang="0">
                    <a:pos x="18" y="120"/>
                  </a:cxn>
                  <a:cxn ang="0">
                    <a:pos x="2" y="74"/>
                  </a:cxn>
                  <a:cxn ang="0">
                    <a:pos x="0" y="76"/>
                  </a:cxn>
                  <a:cxn ang="0">
                    <a:pos x="16" y="124"/>
                  </a:cxn>
                  <a:cxn ang="0">
                    <a:pos x="382" y="4"/>
                  </a:cxn>
                  <a:cxn ang="0">
                    <a:pos x="458" y="70"/>
                  </a:cxn>
                  <a:cxn ang="0">
                    <a:pos x="448" y="138"/>
                  </a:cxn>
                  <a:cxn ang="0">
                    <a:pos x="488" y="190"/>
                  </a:cxn>
                  <a:cxn ang="0">
                    <a:pos x="458" y="256"/>
                  </a:cxn>
                  <a:cxn ang="0">
                    <a:pos x="428" y="266"/>
                  </a:cxn>
                  <a:cxn ang="0">
                    <a:pos x="430" y="270"/>
                  </a:cxn>
                  <a:cxn ang="0">
                    <a:pos x="462" y="258"/>
                  </a:cxn>
                </a:cxnLst>
                <a:rect l="0" t="0" r="r" b="b"/>
                <a:pathLst>
                  <a:path w="490" h="270">
                    <a:moveTo>
                      <a:pt x="462" y="258"/>
                    </a:moveTo>
                    <a:lnTo>
                      <a:pt x="490" y="190"/>
                    </a:lnTo>
                    <a:lnTo>
                      <a:pt x="452" y="138"/>
                    </a:lnTo>
                    <a:lnTo>
                      <a:pt x="462" y="68"/>
                    </a:lnTo>
                    <a:lnTo>
                      <a:pt x="382" y="0"/>
                    </a:lnTo>
                    <a:lnTo>
                      <a:pt x="18" y="120"/>
                    </a:lnTo>
                    <a:lnTo>
                      <a:pt x="2" y="74"/>
                    </a:lnTo>
                    <a:lnTo>
                      <a:pt x="0" y="76"/>
                    </a:lnTo>
                    <a:lnTo>
                      <a:pt x="16" y="124"/>
                    </a:lnTo>
                    <a:lnTo>
                      <a:pt x="382" y="4"/>
                    </a:lnTo>
                    <a:lnTo>
                      <a:pt x="458" y="70"/>
                    </a:lnTo>
                    <a:lnTo>
                      <a:pt x="448" y="138"/>
                    </a:lnTo>
                    <a:lnTo>
                      <a:pt x="488" y="190"/>
                    </a:lnTo>
                    <a:lnTo>
                      <a:pt x="458" y="256"/>
                    </a:lnTo>
                    <a:lnTo>
                      <a:pt x="428" y="266"/>
                    </a:lnTo>
                    <a:lnTo>
                      <a:pt x="430" y="270"/>
                    </a:lnTo>
                    <a:lnTo>
                      <a:pt x="462" y="25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42" name="Freeform 2959"/>
              <p:cNvSpPr>
                <a:spLocks/>
              </p:cNvSpPr>
              <p:nvPr/>
            </p:nvSpPr>
            <p:spPr bwMode="auto">
              <a:xfrm>
                <a:off x="9531313" y="3142647"/>
                <a:ext cx="480144" cy="168050"/>
              </a:xfrm>
              <a:custGeom>
                <a:avLst/>
                <a:gdLst/>
                <a:ahLst/>
                <a:cxnLst>
                  <a:cxn ang="0">
                    <a:pos x="4" y="112"/>
                  </a:cxn>
                  <a:cxn ang="0">
                    <a:pos x="320" y="4"/>
                  </a:cxn>
                  <a:cxn ang="0">
                    <a:pos x="318" y="0"/>
                  </a:cxn>
                  <a:cxn ang="0">
                    <a:pos x="0" y="110"/>
                  </a:cxn>
                  <a:cxn ang="0">
                    <a:pos x="2" y="110"/>
                  </a:cxn>
                  <a:cxn ang="0">
                    <a:pos x="2" y="110"/>
                  </a:cxn>
                  <a:cxn ang="0">
                    <a:pos x="4" y="112"/>
                  </a:cxn>
                </a:cxnLst>
                <a:rect l="0" t="0" r="r" b="b"/>
                <a:pathLst>
                  <a:path w="320" h="112">
                    <a:moveTo>
                      <a:pt x="4" y="112"/>
                    </a:moveTo>
                    <a:lnTo>
                      <a:pt x="320" y="4"/>
                    </a:lnTo>
                    <a:lnTo>
                      <a:pt x="318" y="0"/>
                    </a:lnTo>
                    <a:lnTo>
                      <a:pt x="0" y="110"/>
                    </a:lnTo>
                    <a:lnTo>
                      <a:pt x="2" y="110"/>
                    </a:lnTo>
                    <a:lnTo>
                      <a:pt x="2" y="110"/>
                    </a:lnTo>
                    <a:lnTo>
                      <a:pt x="4" y="11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43" name="Freeform 2960"/>
              <p:cNvSpPr>
                <a:spLocks/>
              </p:cNvSpPr>
              <p:nvPr/>
            </p:nvSpPr>
            <p:spPr bwMode="auto">
              <a:xfrm>
                <a:off x="9534314" y="3307696"/>
                <a:ext cx="3001" cy="3001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44" name="Rectangle 2961"/>
              <p:cNvSpPr>
                <a:spLocks noChangeArrowheads="1"/>
              </p:cNvSpPr>
              <p:nvPr/>
            </p:nvSpPr>
            <p:spPr bwMode="auto">
              <a:xfrm>
                <a:off x="10200513" y="3346708"/>
                <a:ext cx="3001" cy="300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45" name="Rectangle 2962"/>
              <p:cNvSpPr>
                <a:spLocks noChangeArrowheads="1"/>
              </p:cNvSpPr>
              <p:nvPr/>
            </p:nvSpPr>
            <p:spPr bwMode="auto">
              <a:xfrm>
                <a:off x="10008455" y="3142647"/>
                <a:ext cx="1501" cy="150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46" name="Freeform 2963"/>
              <p:cNvSpPr>
                <a:spLocks/>
              </p:cNvSpPr>
              <p:nvPr/>
            </p:nvSpPr>
            <p:spPr bwMode="auto">
              <a:xfrm>
                <a:off x="10011456" y="3148649"/>
                <a:ext cx="189056" cy="24307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58" y="162"/>
                  </a:cxn>
                  <a:cxn ang="0">
                    <a:pos x="126" y="134"/>
                  </a:cxn>
                  <a:cxn ang="0">
                    <a:pos x="126" y="132"/>
                  </a:cxn>
                  <a:cxn ang="0">
                    <a:pos x="62" y="158"/>
                  </a:cxn>
                  <a:cxn ang="0">
                    <a:pos x="0" y="0"/>
                  </a:cxn>
                </a:cxnLst>
                <a:rect l="0" t="0" r="r" b="b"/>
                <a:pathLst>
                  <a:path w="126" h="162">
                    <a:moveTo>
                      <a:pt x="0" y="0"/>
                    </a:moveTo>
                    <a:lnTo>
                      <a:pt x="0" y="0"/>
                    </a:lnTo>
                    <a:lnTo>
                      <a:pt x="58" y="162"/>
                    </a:lnTo>
                    <a:lnTo>
                      <a:pt x="126" y="134"/>
                    </a:lnTo>
                    <a:lnTo>
                      <a:pt x="126" y="132"/>
                    </a:lnTo>
                    <a:lnTo>
                      <a:pt x="62" y="15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47" name="Freeform 2964"/>
              <p:cNvSpPr>
                <a:spLocks/>
              </p:cNvSpPr>
              <p:nvPr/>
            </p:nvSpPr>
            <p:spPr bwMode="auto">
              <a:xfrm>
                <a:off x="10008455" y="3142647"/>
                <a:ext cx="3001" cy="6002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4"/>
                  </a:cxn>
                  <a:cxn ang="0">
                    <a:pos x="2" y="4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48" name="Freeform 2965"/>
              <p:cNvSpPr>
                <a:spLocks/>
              </p:cNvSpPr>
              <p:nvPr/>
            </p:nvSpPr>
            <p:spPr bwMode="auto">
              <a:xfrm>
                <a:off x="10512607" y="2599485"/>
                <a:ext cx="3001" cy="6002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4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49" name="Freeform 2966"/>
              <p:cNvSpPr>
                <a:spLocks/>
              </p:cNvSpPr>
              <p:nvPr/>
            </p:nvSpPr>
            <p:spPr bwMode="auto">
              <a:xfrm>
                <a:off x="10419579" y="2773537"/>
                <a:ext cx="6002" cy="9003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2" y="6"/>
                  </a:cxn>
                  <a:cxn ang="0">
                    <a:pos x="4" y="4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2" y="6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2" y="6"/>
                    </a:lnTo>
                    <a:lnTo>
                      <a:pt x="4" y="4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50" name="Freeform 2967"/>
              <p:cNvSpPr>
                <a:spLocks/>
              </p:cNvSpPr>
              <p:nvPr/>
            </p:nvSpPr>
            <p:spPr bwMode="auto">
              <a:xfrm>
                <a:off x="10173505" y="2641497"/>
                <a:ext cx="93028" cy="20406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" y="84"/>
                  </a:cxn>
                  <a:cxn ang="0">
                    <a:pos x="62" y="136"/>
                  </a:cxn>
                  <a:cxn ang="0">
                    <a:pos x="12" y="82"/>
                  </a:cxn>
                  <a:cxn ang="0">
                    <a:pos x="0" y="0"/>
                  </a:cxn>
                </a:cxnLst>
                <a:rect l="0" t="0" r="r" b="b"/>
                <a:pathLst>
                  <a:path w="62" h="136">
                    <a:moveTo>
                      <a:pt x="0" y="0"/>
                    </a:moveTo>
                    <a:lnTo>
                      <a:pt x="10" y="84"/>
                    </a:lnTo>
                    <a:lnTo>
                      <a:pt x="62" y="136"/>
                    </a:lnTo>
                    <a:lnTo>
                      <a:pt x="12" y="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51" name="Freeform 2968"/>
              <p:cNvSpPr>
                <a:spLocks/>
              </p:cNvSpPr>
              <p:nvPr/>
            </p:nvSpPr>
            <p:spPr bwMode="auto">
              <a:xfrm>
                <a:off x="10020459" y="2104337"/>
                <a:ext cx="153046" cy="537160"/>
              </a:xfrm>
              <a:custGeom>
                <a:avLst/>
                <a:gdLst/>
                <a:ahLst/>
                <a:cxnLst>
                  <a:cxn ang="0">
                    <a:pos x="40" y="1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38" y="132"/>
                  </a:cxn>
                  <a:cxn ang="0">
                    <a:pos x="102" y="358"/>
                  </a:cxn>
                  <a:cxn ang="0">
                    <a:pos x="80" y="276"/>
                  </a:cxn>
                  <a:cxn ang="0">
                    <a:pos x="40" y="132"/>
                  </a:cxn>
                </a:cxnLst>
                <a:rect l="0" t="0" r="r" b="b"/>
                <a:pathLst>
                  <a:path w="102" h="358">
                    <a:moveTo>
                      <a:pt x="40" y="13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38" y="132"/>
                    </a:lnTo>
                    <a:lnTo>
                      <a:pt x="102" y="358"/>
                    </a:lnTo>
                    <a:lnTo>
                      <a:pt x="80" y="276"/>
                    </a:lnTo>
                    <a:lnTo>
                      <a:pt x="40" y="13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52" name="Freeform 2969"/>
              <p:cNvSpPr>
                <a:spLocks/>
              </p:cNvSpPr>
              <p:nvPr/>
            </p:nvSpPr>
            <p:spPr bwMode="auto">
              <a:xfrm>
                <a:off x="10377566" y="2536466"/>
                <a:ext cx="135041" cy="243072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28" y="162"/>
                  </a:cxn>
                  <a:cxn ang="0">
                    <a:pos x="30" y="158"/>
                  </a:cxn>
                  <a:cxn ang="0">
                    <a:pos x="4" y="20"/>
                  </a:cxn>
                  <a:cxn ang="0">
                    <a:pos x="54" y="2"/>
                  </a:cxn>
                  <a:cxn ang="0">
                    <a:pos x="90" y="42"/>
                  </a:cxn>
                  <a:cxn ang="0">
                    <a:pos x="90" y="42"/>
                  </a:cxn>
                  <a:cxn ang="0">
                    <a:pos x="54" y="0"/>
                  </a:cxn>
                  <a:cxn ang="0">
                    <a:pos x="0" y="20"/>
                  </a:cxn>
                </a:cxnLst>
                <a:rect l="0" t="0" r="r" b="b"/>
                <a:pathLst>
                  <a:path w="90" h="162">
                    <a:moveTo>
                      <a:pt x="0" y="20"/>
                    </a:moveTo>
                    <a:lnTo>
                      <a:pt x="28" y="162"/>
                    </a:lnTo>
                    <a:lnTo>
                      <a:pt x="30" y="158"/>
                    </a:lnTo>
                    <a:lnTo>
                      <a:pt x="4" y="20"/>
                    </a:lnTo>
                    <a:lnTo>
                      <a:pt x="54" y="2"/>
                    </a:lnTo>
                    <a:lnTo>
                      <a:pt x="90" y="42"/>
                    </a:lnTo>
                    <a:lnTo>
                      <a:pt x="90" y="42"/>
                    </a:lnTo>
                    <a:lnTo>
                      <a:pt x="54" y="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53" name="Rectangle 2970"/>
              <p:cNvSpPr>
                <a:spLocks noChangeArrowheads="1"/>
              </p:cNvSpPr>
              <p:nvPr/>
            </p:nvSpPr>
            <p:spPr bwMode="auto">
              <a:xfrm>
                <a:off x="10422579" y="2782540"/>
                <a:ext cx="1501" cy="150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54" name="Freeform 2971"/>
              <p:cNvSpPr>
                <a:spLocks/>
              </p:cNvSpPr>
              <p:nvPr/>
            </p:nvSpPr>
            <p:spPr bwMode="auto">
              <a:xfrm>
                <a:off x="10221520" y="1984300"/>
                <a:ext cx="249074" cy="3721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126" y="220"/>
                  </a:cxn>
                  <a:cxn ang="0">
                    <a:pos x="166" y="248"/>
                  </a:cxn>
                  <a:cxn ang="0">
                    <a:pos x="166" y="246"/>
                  </a:cxn>
                  <a:cxn ang="0">
                    <a:pos x="126" y="218"/>
                  </a:cxn>
                  <a:cxn ang="0">
                    <a:pos x="0" y="0"/>
                  </a:cxn>
                </a:cxnLst>
                <a:rect l="0" t="0" r="r" b="b"/>
                <a:pathLst>
                  <a:path w="166" h="248">
                    <a:moveTo>
                      <a:pt x="0" y="0"/>
                    </a:moveTo>
                    <a:lnTo>
                      <a:pt x="0" y="2"/>
                    </a:lnTo>
                    <a:lnTo>
                      <a:pt x="126" y="220"/>
                    </a:lnTo>
                    <a:lnTo>
                      <a:pt x="166" y="248"/>
                    </a:lnTo>
                    <a:lnTo>
                      <a:pt x="166" y="246"/>
                    </a:lnTo>
                    <a:lnTo>
                      <a:pt x="126" y="2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55" name="Freeform 3027"/>
              <p:cNvSpPr>
                <a:spLocks/>
              </p:cNvSpPr>
              <p:nvPr/>
            </p:nvSpPr>
            <p:spPr bwMode="auto">
              <a:xfrm>
                <a:off x="10020459" y="2104337"/>
                <a:ext cx="153046" cy="537160"/>
              </a:xfrm>
              <a:custGeom>
                <a:avLst/>
                <a:gdLst/>
                <a:ahLst/>
                <a:cxnLst>
                  <a:cxn ang="0">
                    <a:pos x="40" y="1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38" y="132"/>
                  </a:cxn>
                  <a:cxn ang="0">
                    <a:pos x="102" y="358"/>
                  </a:cxn>
                  <a:cxn ang="0">
                    <a:pos x="80" y="276"/>
                  </a:cxn>
                  <a:cxn ang="0">
                    <a:pos x="40" y="132"/>
                  </a:cxn>
                </a:cxnLst>
                <a:rect l="0" t="0" r="r" b="b"/>
                <a:pathLst>
                  <a:path w="102" h="358">
                    <a:moveTo>
                      <a:pt x="40" y="13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38" y="132"/>
                    </a:lnTo>
                    <a:lnTo>
                      <a:pt x="102" y="358"/>
                    </a:lnTo>
                    <a:lnTo>
                      <a:pt x="80" y="276"/>
                    </a:lnTo>
                    <a:lnTo>
                      <a:pt x="40" y="13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56" name="Freeform 3028"/>
              <p:cNvSpPr>
                <a:spLocks/>
              </p:cNvSpPr>
              <p:nvPr/>
            </p:nvSpPr>
            <p:spPr bwMode="auto">
              <a:xfrm>
                <a:off x="10173505" y="2641497"/>
                <a:ext cx="93028" cy="20406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" y="84"/>
                  </a:cxn>
                  <a:cxn ang="0">
                    <a:pos x="62" y="136"/>
                  </a:cxn>
                  <a:cxn ang="0">
                    <a:pos x="12" y="82"/>
                  </a:cxn>
                  <a:cxn ang="0">
                    <a:pos x="0" y="0"/>
                  </a:cxn>
                </a:cxnLst>
                <a:rect l="0" t="0" r="r" b="b"/>
                <a:pathLst>
                  <a:path w="62" h="136">
                    <a:moveTo>
                      <a:pt x="0" y="0"/>
                    </a:moveTo>
                    <a:lnTo>
                      <a:pt x="10" y="84"/>
                    </a:lnTo>
                    <a:lnTo>
                      <a:pt x="62" y="136"/>
                    </a:lnTo>
                    <a:lnTo>
                      <a:pt x="12" y="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57" name="Freeform 3029"/>
              <p:cNvSpPr>
                <a:spLocks/>
              </p:cNvSpPr>
              <p:nvPr/>
            </p:nvSpPr>
            <p:spPr bwMode="auto">
              <a:xfrm>
                <a:off x="9264233" y="2965594"/>
                <a:ext cx="114035" cy="30309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6"/>
                  </a:cxn>
                  <a:cxn ang="0">
                    <a:pos x="6" y="24"/>
                  </a:cxn>
                  <a:cxn ang="0">
                    <a:pos x="74" y="202"/>
                  </a:cxn>
                  <a:cxn ang="0">
                    <a:pos x="76" y="200"/>
                  </a:cxn>
                  <a:cxn ang="0">
                    <a:pos x="2" y="0"/>
                  </a:cxn>
                </a:cxnLst>
                <a:rect l="0" t="0" r="r" b="b"/>
                <a:pathLst>
                  <a:path w="76" h="202">
                    <a:moveTo>
                      <a:pt x="2" y="0"/>
                    </a:moveTo>
                    <a:lnTo>
                      <a:pt x="0" y="6"/>
                    </a:lnTo>
                    <a:lnTo>
                      <a:pt x="6" y="24"/>
                    </a:lnTo>
                    <a:lnTo>
                      <a:pt x="74" y="202"/>
                    </a:lnTo>
                    <a:lnTo>
                      <a:pt x="76" y="20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58" name="Freeform 3030"/>
              <p:cNvSpPr>
                <a:spLocks/>
              </p:cNvSpPr>
              <p:nvPr/>
            </p:nvSpPr>
            <p:spPr bwMode="auto">
              <a:xfrm>
                <a:off x="9213218" y="3283689"/>
                <a:ext cx="588176" cy="531158"/>
              </a:xfrm>
              <a:custGeom>
                <a:avLst/>
                <a:gdLst/>
                <a:ahLst/>
                <a:cxnLst>
                  <a:cxn ang="0">
                    <a:pos x="6" y="268"/>
                  </a:cxn>
                  <a:cxn ang="0">
                    <a:pos x="0" y="264"/>
                  </a:cxn>
                  <a:cxn ang="0">
                    <a:pos x="10" y="298"/>
                  </a:cxn>
                  <a:cxn ang="0">
                    <a:pos x="62" y="320"/>
                  </a:cxn>
                  <a:cxn ang="0">
                    <a:pos x="62" y="320"/>
                  </a:cxn>
                  <a:cxn ang="0">
                    <a:pos x="64" y="322"/>
                  </a:cxn>
                  <a:cxn ang="0">
                    <a:pos x="136" y="354"/>
                  </a:cxn>
                  <a:cxn ang="0">
                    <a:pos x="206" y="312"/>
                  </a:cxn>
                  <a:cxn ang="0">
                    <a:pos x="236" y="148"/>
                  </a:cxn>
                  <a:cxn ang="0">
                    <a:pos x="266" y="172"/>
                  </a:cxn>
                  <a:cxn ang="0">
                    <a:pos x="294" y="102"/>
                  </a:cxn>
                  <a:cxn ang="0">
                    <a:pos x="336" y="40"/>
                  </a:cxn>
                  <a:cxn ang="0">
                    <a:pos x="376" y="40"/>
                  </a:cxn>
                  <a:cxn ang="0">
                    <a:pos x="392" y="18"/>
                  </a:cxn>
                  <a:cxn ang="0">
                    <a:pos x="346" y="8"/>
                  </a:cxn>
                  <a:cxn ang="0">
                    <a:pos x="240" y="64"/>
                  </a:cxn>
                  <a:cxn ang="0">
                    <a:pos x="214" y="18"/>
                  </a:cxn>
                  <a:cxn ang="0">
                    <a:pos x="126" y="48"/>
                  </a:cxn>
                  <a:cxn ang="0">
                    <a:pos x="110" y="0"/>
                  </a:cxn>
                  <a:cxn ang="0">
                    <a:pos x="98" y="76"/>
                  </a:cxn>
                  <a:cxn ang="0">
                    <a:pos x="6" y="268"/>
                  </a:cxn>
                </a:cxnLst>
                <a:rect l="0" t="0" r="r" b="b"/>
                <a:pathLst>
                  <a:path w="392" h="354">
                    <a:moveTo>
                      <a:pt x="6" y="268"/>
                    </a:moveTo>
                    <a:lnTo>
                      <a:pt x="0" y="264"/>
                    </a:lnTo>
                    <a:lnTo>
                      <a:pt x="10" y="298"/>
                    </a:lnTo>
                    <a:lnTo>
                      <a:pt x="62" y="320"/>
                    </a:lnTo>
                    <a:lnTo>
                      <a:pt x="62" y="320"/>
                    </a:lnTo>
                    <a:lnTo>
                      <a:pt x="64" y="322"/>
                    </a:lnTo>
                    <a:lnTo>
                      <a:pt x="136" y="354"/>
                    </a:lnTo>
                    <a:lnTo>
                      <a:pt x="206" y="312"/>
                    </a:lnTo>
                    <a:lnTo>
                      <a:pt x="236" y="148"/>
                    </a:lnTo>
                    <a:lnTo>
                      <a:pt x="266" y="172"/>
                    </a:lnTo>
                    <a:lnTo>
                      <a:pt x="294" y="102"/>
                    </a:lnTo>
                    <a:lnTo>
                      <a:pt x="336" y="40"/>
                    </a:lnTo>
                    <a:lnTo>
                      <a:pt x="376" y="40"/>
                    </a:lnTo>
                    <a:lnTo>
                      <a:pt x="392" y="18"/>
                    </a:lnTo>
                    <a:lnTo>
                      <a:pt x="346" y="8"/>
                    </a:lnTo>
                    <a:lnTo>
                      <a:pt x="240" y="64"/>
                    </a:lnTo>
                    <a:lnTo>
                      <a:pt x="214" y="18"/>
                    </a:lnTo>
                    <a:lnTo>
                      <a:pt x="126" y="48"/>
                    </a:lnTo>
                    <a:lnTo>
                      <a:pt x="110" y="0"/>
                    </a:lnTo>
                    <a:lnTo>
                      <a:pt x="98" y="76"/>
                    </a:lnTo>
                    <a:lnTo>
                      <a:pt x="6" y="26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59" name="Freeform 3031"/>
              <p:cNvSpPr>
                <a:spLocks/>
              </p:cNvSpPr>
              <p:nvPr/>
            </p:nvSpPr>
            <p:spPr bwMode="auto">
              <a:xfrm>
                <a:off x="9213218" y="3676807"/>
                <a:ext cx="9003" cy="900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6" y="6"/>
                  </a:cxn>
                  <a:cxn ang="0">
                    <a:pos x="0" y="0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lnTo>
                      <a:pt x="0" y="2"/>
                    </a:lnTo>
                    <a:lnTo>
                      <a:pt x="6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60" name="Freeform 3032"/>
              <p:cNvSpPr>
                <a:spLocks/>
              </p:cNvSpPr>
              <p:nvPr/>
            </p:nvSpPr>
            <p:spPr bwMode="auto">
              <a:xfrm>
                <a:off x="9360261" y="3280688"/>
                <a:ext cx="18005" cy="117035"/>
              </a:xfrm>
              <a:custGeom>
                <a:avLst/>
                <a:gdLst/>
                <a:ahLst/>
                <a:cxnLst>
                  <a:cxn ang="0">
                    <a:pos x="0" y="78"/>
                  </a:cxn>
                  <a:cxn ang="0">
                    <a:pos x="12" y="2"/>
                  </a:cxn>
                  <a:cxn ang="0">
                    <a:pos x="10" y="0"/>
                  </a:cxn>
                  <a:cxn ang="0">
                    <a:pos x="0" y="78"/>
                  </a:cxn>
                </a:cxnLst>
                <a:rect l="0" t="0" r="r" b="b"/>
                <a:pathLst>
                  <a:path w="12" h="78">
                    <a:moveTo>
                      <a:pt x="0" y="78"/>
                    </a:moveTo>
                    <a:lnTo>
                      <a:pt x="12" y="2"/>
                    </a:lnTo>
                    <a:lnTo>
                      <a:pt x="10" y="0"/>
                    </a:lnTo>
                    <a:lnTo>
                      <a:pt x="0" y="7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61" name="Freeform 3033"/>
              <p:cNvSpPr>
                <a:spLocks/>
              </p:cNvSpPr>
              <p:nvPr/>
            </p:nvSpPr>
            <p:spPr bwMode="auto">
              <a:xfrm>
                <a:off x="9222221" y="3397723"/>
                <a:ext cx="138042" cy="288086"/>
              </a:xfrm>
              <a:custGeom>
                <a:avLst/>
                <a:gdLst/>
                <a:ahLst/>
                <a:cxnLst>
                  <a:cxn ang="0">
                    <a:pos x="58" y="60"/>
                  </a:cxn>
                  <a:cxn ang="0">
                    <a:pos x="0" y="192"/>
                  </a:cxn>
                  <a:cxn ang="0">
                    <a:pos x="92" y="0"/>
                  </a:cxn>
                  <a:cxn ang="0">
                    <a:pos x="58" y="60"/>
                  </a:cxn>
                </a:cxnLst>
                <a:rect l="0" t="0" r="r" b="b"/>
                <a:pathLst>
                  <a:path w="92" h="192">
                    <a:moveTo>
                      <a:pt x="58" y="60"/>
                    </a:moveTo>
                    <a:lnTo>
                      <a:pt x="0" y="192"/>
                    </a:lnTo>
                    <a:lnTo>
                      <a:pt x="92" y="0"/>
                    </a:lnTo>
                    <a:lnTo>
                      <a:pt x="58" y="6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62" name="Freeform 3034"/>
              <p:cNvSpPr>
                <a:spLocks/>
              </p:cNvSpPr>
              <p:nvPr/>
            </p:nvSpPr>
            <p:spPr bwMode="auto">
              <a:xfrm>
                <a:off x="9375266" y="3268686"/>
                <a:ext cx="3001" cy="9003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2" y="2"/>
                  </a:cxn>
                  <a:cxn ang="0">
                    <a:pos x="0" y="0"/>
                  </a:cxn>
                  <a:cxn ang="0">
                    <a:pos x="0" y="6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63" name="Freeform 3036"/>
              <p:cNvSpPr>
                <a:spLocks/>
              </p:cNvSpPr>
              <p:nvPr/>
            </p:nvSpPr>
            <p:spPr bwMode="auto">
              <a:xfrm>
                <a:off x="10020459" y="2104337"/>
                <a:ext cx="153046" cy="537160"/>
              </a:xfrm>
              <a:custGeom>
                <a:avLst/>
                <a:gdLst/>
                <a:ahLst/>
                <a:cxnLst>
                  <a:cxn ang="0">
                    <a:pos x="40" y="1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38" y="132"/>
                  </a:cxn>
                  <a:cxn ang="0">
                    <a:pos x="102" y="358"/>
                  </a:cxn>
                  <a:cxn ang="0">
                    <a:pos x="80" y="276"/>
                  </a:cxn>
                  <a:cxn ang="0">
                    <a:pos x="40" y="132"/>
                  </a:cxn>
                </a:cxnLst>
                <a:rect l="0" t="0" r="r" b="b"/>
                <a:pathLst>
                  <a:path w="102" h="358">
                    <a:moveTo>
                      <a:pt x="40" y="13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38" y="132"/>
                    </a:lnTo>
                    <a:lnTo>
                      <a:pt x="102" y="358"/>
                    </a:lnTo>
                    <a:lnTo>
                      <a:pt x="80" y="276"/>
                    </a:lnTo>
                    <a:lnTo>
                      <a:pt x="40" y="13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64" name="Freeform 3037"/>
              <p:cNvSpPr>
                <a:spLocks/>
              </p:cNvSpPr>
              <p:nvPr/>
            </p:nvSpPr>
            <p:spPr bwMode="auto">
              <a:xfrm>
                <a:off x="10173505" y="2641497"/>
                <a:ext cx="93028" cy="20406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" y="84"/>
                  </a:cxn>
                  <a:cxn ang="0">
                    <a:pos x="62" y="136"/>
                  </a:cxn>
                  <a:cxn ang="0">
                    <a:pos x="12" y="82"/>
                  </a:cxn>
                  <a:cxn ang="0">
                    <a:pos x="0" y="0"/>
                  </a:cxn>
                </a:cxnLst>
                <a:rect l="0" t="0" r="r" b="b"/>
                <a:pathLst>
                  <a:path w="62" h="136">
                    <a:moveTo>
                      <a:pt x="0" y="0"/>
                    </a:moveTo>
                    <a:lnTo>
                      <a:pt x="10" y="84"/>
                    </a:lnTo>
                    <a:lnTo>
                      <a:pt x="62" y="136"/>
                    </a:lnTo>
                    <a:lnTo>
                      <a:pt x="12" y="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65" name="Freeform 3038"/>
              <p:cNvSpPr>
                <a:spLocks/>
              </p:cNvSpPr>
              <p:nvPr/>
            </p:nvSpPr>
            <p:spPr bwMode="auto">
              <a:xfrm>
                <a:off x="9393271" y="2743528"/>
                <a:ext cx="708212" cy="390117"/>
              </a:xfrm>
              <a:custGeom>
                <a:avLst/>
                <a:gdLst/>
                <a:ahLst/>
                <a:cxnLst>
                  <a:cxn ang="0">
                    <a:pos x="472" y="190"/>
                  </a:cxn>
                  <a:cxn ang="0">
                    <a:pos x="434" y="138"/>
                  </a:cxn>
                  <a:cxn ang="0">
                    <a:pos x="444" y="68"/>
                  </a:cxn>
                  <a:cxn ang="0">
                    <a:pos x="364" y="0"/>
                  </a:cxn>
                  <a:cxn ang="0">
                    <a:pos x="0" y="120"/>
                  </a:cxn>
                  <a:cxn ang="0">
                    <a:pos x="364" y="4"/>
                  </a:cxn>
                  <a:cxn ang="0">
                    <a:pos x="440" y="70"/>
                  </a:cxn>
                  <a:cxn ang="0">
                    <a:pos x="430" y="138"/>
                  </a:cxn>
                  <a:cxn ang="0">
                    <a:pos x="470" y="190"/>
                  </a:cxn>
                  <a:cxn ang="0">
                    <a:pos x="442" y="260"/>
                  </a:cxn>
                  <a:cxn ang="0">
                    <a:pos x="444" y="258"/>
                  </a:cxn>
                  <a:cxn ang="0">
                    <a:pos x="472" y="190"/>
                  </a:cxn>
                </a:cxnLst>
                <a:rect l="0" t="0" r="r" b="b"/>
                <a:pathLst>
                  <a:path w="472" h="260">
                    <a:moveTo>
                      <a:pt x="472" y="190"/>
                    </a:moveTo>
                    <a:lnTo>
                      <a:pt x="434" y="138"/>
                    </a:lnTo>
                    <a:lnTo>
                      <a:pt x="444" y="68"/>
                    </a:lnTo>
                    <a:lnTo>
                      <a:pt x="364" y="0"/>
                    </a:lnTo>
                    <a:lnTo>
                      <a:pt x="0" y="120"/>
                    </a:lnTo>
                    <a:lnTo>
                      <a:pt x="364" y="4"/>
                    </a:lnTo>
                    <a:lnTo>
                      <a:pt x="440" y="70"/>
                    </a:lnTo>
                    <a:lnTo>
                      <a:pt x="430" y="138"/>
                    </a:lnTo>
                    <a:lnTo>
                      <a:pt x="470" y="190"/>
                    </a:lnTo>
                    <a:lnTo>
                      <a:pt x="442" y="260"/>
                    </a:lnTo>
                    <a:lnTo>
                      <a:pt x="444" y="258"/>
                    </a:lnTo>
                    <a:lnTo>
                      <a:pt x="472" y="19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66" name="Freeform 3039"/>
              <p:cNvSpPr>
                <a:spLocks/>
              </p:cNvSpPr>
              <p:nvPr/>
            </p:nvSpPr>
            <p:spPr bwMode="auto">
              <a:xfrm>
                <a:off x="9366263" y="2749530"/>
                <a:ext cx="573171" cy="180053"/>
              </a:xfrm>
              <a:custGeom>
                <a:avLst/>
                <a:gdLst/>
                <a:ahLst/>
                <a:cxnLst>
                  <a:cxn ang="0">
                    <a:pos x="0" y="72"/>
                  </a:cxn>
                  <a:cxn ang="0">
                    <a:pos x="16" y="120"/>
                  </a:cxn>
                  <a:cxn ang="0">
                    <a:pos x="382" y="0"/>
                  </a:cxn>
                  <a:cxn ang="0">
                    <a:pos x="18" y="116"/>
                  </a:cxn>
                  <a:cxn ang="0">
                    <a:pos x="2" y="70"/>
                  </a:cxn>
                  <a:cxn ang="0">
                    <a:pos x="0" y="72"/>
                  </a:cxn>
                </a:cxnLst>
                <a:rect l="0" t="0" r="r" b="b"/>
                <a:pathLst>
                  <a:path w="382" h="120">
                    <a:moveTo>
                      <a:pt x="0" y="72"/>
                    </a:moveTo>
                    <a:lnTo>
                      <a:pt x="16" y="120"/>
                    </a:lnTo>
                    <a:lnTo>
                      <a:pt x="382" y="0"/>
                    </a:lnTo>
                    <a:lnTo>
                      <a:pt x="18" y="116"/>
                    </a:lnTo>
                    <a:lnTo>
                      <a:pt x="2" y="70"/>
                    </a:lnTo>
                    <a:lnTo>
                      <a:pt x="0" y="7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67" name="Freeform 3040"/>
              <p:cNvSpPr>
                <a:spLocks/>
              </p:cNvSpPr>
              <p:nvPr/>
            </p:nvSpPr>
            <p:spPr bwMode="auto">
              <a:xfrm>
                <a:off x="10011456" y="3133645"/>
                <a:ext cx="189056" cy="252075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62" y="168"/>
                  </a:cxn>
                  <a:cxn ang="0">
                    <a:pos x="126" y="142"/>
                  </a:cxn>
                  <a:cxn ang="0">
                    <a:pos x="126" y="80"/>
                  </a:cxn>
                  <a:cxn ang="0">
                    <a:pos x="30" y="2"/>
                  </a:cxn>
                  <a:cxn ang="0">
                    <a:pos x="30" y="0"/>
                  </a:cxn>
                  <a:cxn ang="0">
                    <a:pos x="0" y="10"/>
                  </a:cxn>
                </a:cxnLst>
                <a:rect l="0" t="0" r="r" b="b"/>
                <a:pathLst>
                  <a:path w="126" h="168">
                    <a:moveTo>
                      <a:pt x="0" y="10"/>
                    </a:moveTo>
                    <a:lnTo>
                      <a:pt x="62" y="168"/>
                    </a:lnTo>
                    <a:lnTo>
                      <a:pt x="126" y="142"/>
                    </a:lnTo>
                    <a:lnTo>
                      <a:pt x="126" y="80"/>
                    </a:lnTo>
                    <a:lnTo>
                      <a:pt x="30" y="2"/>
                    </a:lnTo>
                    <a:lnTo>
                      <a:pt x="30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68" name="Freeform 3041"/>
              <p:cNvSpPr>
                <a:spLocks/>
              </p:cNvSpPr>
              <p:nvPr/>
            </p:nvSpPr>
            <p:spPr bwMode="auto">
              <a:xfrm>
                <a:off x="9261232" y="2749530"/>
                <a:ext cx="837251" cy="597178"/>
              </a:xfrm>
              <a:custGeom>
                <a:avLst/>
                <a:gdLst/>
                <a:ahLst/>
                <a:cxnLst>
                  <a:cxn ang="0">
                    <a:pos x="528" y="66"/>
                  </a:cxn>
                  <a:cxn ang="0">
                    <a:pos x="452" y="0"/>
                  </a:cxn>
                  <a:cxn ang="0">
                    <a:pos x="86" y="120"/>
                  </a:cxn>
                  <a:cxn ang="0">
                    <a:pos x="70" y="72"/>
                  </a:cxn>
                  <a:cxn ang="0">
                    <a:pos x="72" y="70"/>
                  </a:cxn>
                  <a:cxn ang="0">
                    <a:pos x="88" y="116"/>
                  </a:cxn>
                  <a:cxn ang="0">
                    <a:pos x="72" y="64"/>
                  </a:cxn>
                  <a:cxn ang="0">
                    <a:pos x="0" y="146"/>
                  </a:cxn>
                  <a:cxn ang="0">
                    <a:pos x="8" y="168"/>
                  </a:cxn>
                  <a:cxn ang="0">
                    <a:pos x="2" y="150"/>
                  </a:cxn>
                  <a:cxn ang="0">
                    <a:pos x="4" y="144"/>
                  </a:cxn>
                  <a:cxn ang="0">
                    <a:pos x="78" y="344"/>
                  </a:cxn>
                  <a:cxn ang="0">
                    <a:pos x="76" y="346"/>
                  </a:cxn>
                  <a:cxn ang="0">
                    <a:pos x="78" y="348"/>
                  </a:cxn>
                  <a:cxn ang="0">
                    <a:pos x="96" y="398"/>
                  </a:cxn>
                  <a:cxn ang="0">
                    <a:pos x="182" y="372"/>
                  </a:cxn>
                  <a:cxn ang="0">
                    <a:pos x="180" y="372"/>
                  </a:cxn>
                  <a:cxn ang="0">
                    <a:pos x="498" y="262"/>
                  </a:cxn>
                  <a:cxn ang="0">
                    <a:pos x="498" y="262"/>
                  </a:cxn>
                  <a:cxn ang="0">
                    <a:pos x="498" y="262"/>
                  </a:cxn>
                  <a:cxn ang="0">
                    <a:pos x="528" y="252"/>
                  </a:cxn>
                  <a:cxn ang="0">
                    <a:pos x="558" y="186"/>
                  </a:cxn>
                  <a:cxn ang="0">
                    <a:pos x="518" y="134"/>
                  </a:cxn>
                  <a:cxn ang="0">
                    <a:pos x="528" y="66"/>
                  </a:cxn>
                </a:cxnLst>
                <a:rect l="0" t="0" r="r" b="b"/>
                <a:pathLst>
                  <a:path w="558" h="398">
                    <a:moveTo>
                      <a:pt x="528" y="66"/>
                    </a:moveTo>
                    <a:lnTo>
                      <a:pt x="452" y="0"/>
                    </a:lnTo>
                    <a:lnTo>
                      <a:pt x="86" y="120"/>
                    </a:lnTo>
                    <a:lnTo>
                      <a:pt x="70" y="72"/>
                    </a:lnTo>
                    <a:lnTo>
                      <a:pt x="72" y="70"/>
                    </a:lnTo>
                    <a:lnTo>
                      <a:pt x="88" y="116"/>
                    </a:lnTo>
                    <a:lnTo>
                      <a:pt x="72" y="64"/>
                    </a:lnTo>
                    <a:lnTo>
                      <a:pt x="0" y="146"/>
                    </a:lnTo>
                    <a:lnTo>
                      <a:pt x="8" y="168"/>
                    </a:lnTo>
                    <a:lnTo>
                      <a:pt x="2" y="150"/>
                    </a:lnTo>
                    <a:lnTo>
                      <a:pt x="4" y="144"/>
                    </a:lnTo>
                    <a:lnTo>
                      <a:pt x="78" y="344"/>
                    </a:lnTo>
                    <a:lnTo>
                      <a:pt x="76" y="346"/>
                    </a:lnTo>
                    <a:lnTo>
                      <a:pt x="78" y="348"/>
                    </a:lnTo>
                    <a:lnTo>
                      <a:pt x="96" y="398"/>
                    </a:lnTo>
                    <a:lnTo>
                      <a:pt x="182" y="372"/>
                    </a:lnTo>
                    <a:lnTo>
                      <a:pt x="180" y="372"/>
                    </a:lnTo>
                    <a:lnTo>
                      <a:pt x="498" y="262"/>
                    </a:lnTo>
                    <a:lnTo>
                      <a:pt x="498" y="262"/>
                    </a:lnTo>
                    <a:lnTo>
                      <a:pt x="498" y="262"/>
                    </a:lnTo>
                    <a:lnTo>
                      <a:pt x="528" y="252"/>
                    </a:lnTo>
                    <a:lnTo>
                      <a:pt x="558" y="186"/>
                    </a:lnTo>
                    <a:lnTo>
                      <a:pt x="518" y="134"/>
                    </a:lnTo>
                    <a:lnTo>
                      <a:pt x="528" y="6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69" name="Freeform 3042"/>
              <p:cNvSpPr>
                <a:spLocks/>
              </p:cNvSpPr>
              <p:nvPr/>
            </p:nvSpPr>
            <p:spPr bwMode="auto">
              <a:xfrm>
                <a:off x="10020459" y="2104337"/>
                <a:ext cx="153046" cy="537160"/>
              </a:xfrm>
              <a:custGeom>
                <a:avLst/>
                <a:gdLst/>
                <a:ahLst/>
                <a:cxnLst>
                  <a:cxn ang="0">
                    <a:pos x="40" y="1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38" y="132"/>
                  </a:cxn>
                  <a:cxn ang="0">
                    <a:pos x="102" y="358"/>
                  </a:cxn>
                  <a:cxn ang="0">
                    <a:pos x="80" y="276"/>
                  </a:cxn>
                  <a:cxn ang="0">
                    <a:pos x="40" y="132"/>
                  </a:cxn>
                </a:cxnLst>
                <a:rect l="0" t="0" r="r" b="b"/>
                <a:pathLst>
                  <a:path w="102" h="358">
                    <a:moveTo>
                      <a:pt x="40" y="13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38" y="132"/>
                    </a:lnTo>
                    <a:lnTo>
                      <a:pt x="102" y="358"/>
                    </a:lnTo>
                    <a:lnTo>
                      <a:pt x="80" y="276"/>
                    </a:lnTo>
                    <a:lnTo>
                      <a:pt x="40" y="13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70" name="Freeform 3043"/>
              <p:cNvSpPr>
                <a:spLocks/>
              </p:cNvSpPr>
              <p:nvPr/>
            </p:nvSpPr>
            <p:spPr bwMode="auto">
              <a:xfrm>
                <a:off x="10065472" y="2845559"/>
                <a:ext cx="111034" cy="2700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74" y="18"/>
                  </a:cxn>
                  <a:cxn ang="0">
                    <a:pos x="14" y="4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74" h="18">
                    <a:moveTo>
                      <a:pt x="0" y="2"/>
                    </a:moveTo>
                    <a:lnTo>
                      <a:pt x="74" y="18"/>
                    </a:lnTo>
                    <a:lnTo>
                      <a:pt x="14" y="4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71" name="Freeform 3044"/>
              <p:cNvSpPr>
                <a:spLocks/>
              </p:cNvSpPr>
              <p:nvPr/>
            </p:nvSpPr>
            <p:spPr bwMode="auto">
              <a:xfrm>
                <a:off x="10173505" y="2641497"/>
                <a:ext cx="93028" cy="20406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" y="84"/>
                  </a:cxn>
                  <a:cxn ang="0">
                    <a:pos x="62" y="136"/>
                  </a:cxn>
                  <a:cxn ang="0">
                    <a:pos x="12" y="82"/>
                  </a:cxn>
                  <a:cxn ang="0">
                    <a:pos x="0" y="0"/>
                  </a:cxn>
                </a:cxnLst>
                <a:rect l="0" t="0" r="r" b="b"/>
                <a:pathLst>
                  <a:path w="62" h="136">
                    <a:moveTo>
                      <a:pt x="0" y="0"/>
                    </a:moveTo>
                    <a:lnTo>
                      <a:pt x="10" y="84"/>
                    </a:lnTo>
                    <a:lnTo>
                      <a:pt x="62" y="136"/>
                    </a:lnTo>
                    <a:lnTo>
                      <a:pt x="12" y="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72" name="Freeform 3045"/>
              <p:cNvSpPr>
                <a:spLocks/>
              </p:cNvSpPr>
              <p:nvPr/>
            </p:nvSpPr>
            <p:spPr bwMode="auto">
              <a:xfrm>
                <a:off x="10176506" y="2872567"/>
                <a:ext cx="75023" cy="21006"/>
              </a:xfrm>
              <a:custGeom>
                <a:avLst/>
                <a:gdLst/>
                <a:ahLst/>
                <a:cxnLst>
                  <a:cxn ang="0">
                    <a:pos x="50" y="12"/>
                  </a:cxn>
                  <a:cxn ang="0">
                    <a:pos x="0" y="0"/>
                  </a:cxn>
                  <a:cxn ang="0">
                    <a:pos x="50" y="14"/>
                  </a:cxn>
                  <a:cxn ang="0">
                    <a:pos x="50" y="12"/>
                  </a:cxn>
                </a:cxnLst>
                <a:rect l="0" t="0" r="r" b="b"/>
                <a:pathLst>
                  <a:path w="50" h="14">
                    <a:moveTo>
                      <a:pt x="50" y="12"/>
                    </a:moveTo>
                    <a:lnTo>
                      <a:pt x="0" y="0"/>
                    </a:lnTo>
                    <a:lnTo>
                      <a:pt x="50" y="14"/>
                    </a:lnTo>
                    <a:lnTo>
                      <a:pt x="50" y="1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73" name="Freeform 3046"/>
              <p:cNvSpPr>
                <a:spLocks/>
              </p:cNvSpPr>
              <p:nvPr/>
            </p:nvSpPr>
            <p:spPr bwMode="auto">
              <a:xfrm>
                <a:off x="10044466" y="2842558"/>
                <a:ext cx="207062" cy="402121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0" y="72"/>
                  </a:cxn>
                  <a:cxn ang="0">
                    <a:pos x="38" y="124"/>
                  </a:cxn>
                  <a:cxn ang="0">
                    <a:pos x="10" y="192"/>
                  </a:cxn>
                  <a:cxn ang="0">
                    <a:pos x="8" y="194"/>
                  </a:cxn>
                  <a:cxn ang="0">
                    <a:pos x="8" y="196"/>
                  </a:cxn>
                  <a:cxn ang="0">
                    <a:pos x="10" y="194"/>
                  </a:cxn>
                  <a:cxn ang="0">
                    <a:pos x="104" y="268"/>
                  </a:cxn>
                  <a:cxn ang="0">
                    <a:pos x="104" y="226"/>
                  </a:cxn>
                  <a:cxn ang="0">
                    <a:pos x="134" y="80"/>
                  </a:cxn>
                  <a:cxn ang="0">
                    <a:pos x="104" y="56"/>
                  </a:cxn>
                  <a:cxn ang="0">
                    <a:pos x="136" y="40"/>
                  </a:cxn>
                  <a:cxn ang="0">
                    <a:pos x="138" y="34"/>
                  </a:cxn>
                  <a:cxn ang="0">
                    <a:pos x="88" y="20"/>
                  </a:cxn>
                  <a:cxn ang="0">
                    <a:pos x="14" y="4"/>
                  </a:cxn>
                  <a:cxn ang="0">
                    <a:pos x="14" y="2"/>
                  </a:cxn>
                  <a:cxn ang="0">
                    <a:pos x="28" y="6"/>
                  </a:cxn>
                  <a:cxn ang="0">
                    <a:pos x="6" y="0"/>
                  </a:cxn>
                  <a:cxn ang="0">
                    <a:pos x="10" y="2"/>
                  </a:cxn>
                </a:cxnLst>
                <a:rect l="0" t="0" r="r" b="b"/>
                <a:pathLst>
                  <a:path w="138" h="268">
                    <a:moveTo>
                      <a:pt x="10" y="2"/>
                    </a:moveTo>
                    <a:lnTo>
                      <a:pt x="0" y="72"/>
                    </a:lnTo>
                    <a:lnTo>
                      <a:pt x="38" y="124"/>
                    </a:lnTo>
                    <a:lnTo>
                      <a:pt x="10" y="192"/>
                    </a:lnTo>
                    <a:lnTo>
                      <a:pt x="8" y="194"/>
                    </a:lnTo>
                    <a:lnTo>
                      <a:pt x="8" y="196"/>
                    </a:lnTo>
                    <a:lnTo>
                      <a:pt x="10" y="194"/>
                    </a:lnTo>
                    <a:lnTo>
                      <a:pt x="104" y="268"/>
                    </a:lnTo>
                    <a:lnTo>
                      <a:pt x="104" y="226"/>
                    </a:lnTo>
                    <a:lnTo>
                      <a:pt x="134" y="80"/>
                    </a:lnTo>
                    <a:lnTo>
                      <a:pt x="104" y="56"/>
                    </a:lnTo>
                    <a:lnTo>
                      <a:pt x="136" y="40"/>
                    </a:lnTo>
                    <a:lnTo>
                      <a:pt x="138" y="34"/>
                    </a:lnTo>
                    <a:lnTo>
                      <a:pt x="88" y="20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28" y="6"/>
                    </a:lnTo>
                    <a:lnTo>
                      <a:pt x="6" y="0"/>
                    </a:lnTo>
                    <a:lnTo>
                      <a:pt x="10" y="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74" name="Freeform 3047"/>
              <p:cNvSpPr>
                <a:spLocks/>
              </p:cNvSpPr>
              <p:nvPr/>
            </p:nvSpPr>
            <p:spPr bwMode="auto">
              <a:xfrm>
                <a:off x="10173505" y="2641497"/>
                <a:ext cx="18005" cy="123037"/>
              </a:xfrm>
              <a:custGeom>
                <a:avLst/>
                <a:gdLst/>
                <a:ahLst/>
                <a:cxnLst>
                  <a:cxn ang="0">
                    <a:pos x="12" y="82"/>
                  </a:cxn>
                  <a:cxn ang="0">
                    <a:pos x="0" y="0"/>
                  </a:cxn>
                  <a:cxn ang="0">
                    <a:pos x="6" y="58"/>
                  </a:cxn>
                  <a:cxn ang="0">
                    <a:pos x="12" y="82"/>
                  </a:cxn>
                </a:cxnLst>
                <a:rect l="0" t="0" r="r" b="b"/>
                <a:pathLst>
                  <a:path w="12" h="82">
                    <a:moveTo>
                      <a:pt x="12" y="82"/>
                    </a:moveTo>
                    <a:lnTo>
                      <a:pt x="0" y="0"/>
                    </a:lnTo>
                    <a:lnTo>
                      <a:pt x="6" y="58"/>
                    </a:lnTo>
                    <a:lnTo>
                      <a:pt x="12" y="8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75" name="Freeform 3048"/>
              <p:cNvSpPr>
                <a:spLocks/>
              </p:cNvSpPr>
              <p:nvPr/>
            </p:nvSpPr>
            <p:spPr bwMode="auto">
              <a:xfrm>
                <a:off x="10020459" y="2104337"/>
                <a:ext cx="153046" cy="537160"/>
              </a:xfrm>
              <a:custGeom>
                <a:avLst/>
                <a:gdLst/>
                <a:ahLst/>
                <a:cxnLst>
                  <a:cxn ang="0">
                    <a:pos x="38" y="132"/>
                  </a:cxn>
                  <a:cxn ang="0">
                    <a:pos x="102" y="358"/>
                  </a:cxn>
                  <a:cxn ang="0">
                    <a:pos x="80" y="276"/>
                  </a:cxn>
                  <a:cxn ang="0">
                    <a:pos x="40" y="13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8" y="34"/>
                  </a:cxn>
                  <a:cxn ang="0">
                    <a:pos x="38" y="132"/>
                  </a:cxn>
                </a:cxnLst>
                <a:rect l="0" t="0" r="r" b="b"/>
                <a:pathLst>
                  <a:path w="102" h="358">
                    <a:moveTo>
                      <a:pt x="38" y="132"/>
                    </a:moveTo>
                    <a:lnTo>
                      <a:pt x="102" y="358"/>
                    </a:lnTo>
                    <a:lnTo>
                      <a:pt x="80" y="276"/>
                    </a:lnTo>
                    <a:lnTo>
                      <a:pt x="40" y="13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8" y="34"/>
                    </a:lnTo>
                    <a:lnTo>
                      <a:pt x="38" y="13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76" name="Freeform 3049"/>
              <p:cNvSpPr>
                <a:spLocks/>
              </p:cNvSpPr>
              <p:nvPr/>
            </p:nvSpPr>
            <p:spPr bwMode="auto">
              <a:xfrm>
                <a:off x="10020459" y="2104337"/>
                <a:ext cx="12004" cy="51015"/>
              </a:xfrm>
              <a:custGeom>
                <a:avLst/>
                <a:gdLst/>
                <a:ahLst/>
                <a:cxnLst>
                  <a:cxn ang="0">
                    <a:pos x="8" y="34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8" y="34"/>
                  </a:cxn>
                </a:cxnLst>
                <a:rect l="0" t="0" r="r" b="b"/>
                <a:pathLst>
                  <a:path w="8" h="34">
                    <a:moveTo>
                      <a:pt x="8" y="3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8" y="3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77" name="Freeform 3050"/>
              <p:cNvSpPr>
                <a:spLocks/>
              </p:cNvSpPr>
              <p:nvPr/>
            </p:nvSpPr>
            <p:spPr bwMode="auto">
              <a:xfrm>
                <a:off x="10191511" y="2764534"/>
                <a:ext cx="75023" cy="81025"/>
              </a:xfrm>
              <a:custGeom>
                <a:avLst/>
                <a:gdLst/>
                <a:ahLst/>
                <a:cxnLst>
                  <a:cxn ang="0">
                    <a:pos x="50" y="54"/>
                  </a:cxn>
                  <a:cxn ang="0">
                    <a:pos x="0" y="0"/>
                  </a:cxn>
                  <a:cxn ang="0">
                    <a:pos x="46" y="50"/>
                  </a:cxn>
                  <a:cxn ang="0">
                    <a:pos x="50" y="54"/>
                  </a:cxn>
                </a:cxnLst>
                <a:rect l="0" t="0" r="r" b="b"/>
                <a:pathLst>
                  <a:path w="50" h="54">
                    <a:moveTo>
                      <a:pt x="50" y="54"/>
                    </a:moveTo>
                    <a:lnTo>
                      <a:pt x="0" y="0"/>
                    </a:lnTo>
                    <a:lnTo>
                      <a:pt x="46" y="50"/>
                    </a:lnTo>
                    <a:lnTo>
                      <a:pt x="50" y="5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78" name="Freeform 3051"/>
              <p:cNvSpPr>
                <a:spLocks/>
              </p:cNvSpPr>
              <p:nvPr/>
            </p:nvSpPr>
            <p:spPr bwMode="auto">
              <a:xfrm>
                <a:off x="10182508" y="2728523"/>
                <a:ext cx="78024" cy="111034"/>
              </a:xfrm>
              <a:custGeom>
                <a:avLst/>
                <a:gdLst/>
                <a:ahLst/>
                <a:cxnLst>
                  <a:cxn ang="0">
                    <a:pos x="4" y="26"/>
                  </a:cxn>
                  <a:cxn ang="0">
                    <a:pos x="52" y="74"/>
                  </a:cxn>
                  <a:cxn ang="0">
                    <a:pos x="6" y="24"/>
                  </a:cxn>
                  <a:cxn ang="0">
                    <a:pos x="0" y="0"/>
                  </a:cxn>
                  <a:cxn ang="0">
                    <a:pos x="4" y="26"/>
                  </a:cxn>
                </a:cxnLst>
                <a:rect l="0" t="0" r="r" b="b"/>
                <a:pathLst>
                  <a:path w="52" h="74">
                    <a:moveTo>
                      <a:pt x="4" y="26"/>
                    </a:moveTo>
                    <a:lnTo>
                      <a:pt x="52" y="74"/>
                    </a:lnTo>
                    <a:lnTo>
                      <a:pt x="6" y="24"/>
                    </a:lnTo>
                    <a:lnTo>
                      <a:pt x="0" y="0"/>
                    </a:lnTo>
                    <a:lnTo>
                      <a:pt x="4" y="2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79" name="Line 3117"/>
              <p:cNvSpPr>
                <a:spLocks noChangeShapeType="1"/>
              </p:cNvSpPr>
              <p:nvPr/>
            </p:nvSpPr>
            <p:spPr bwMode="auto">
              <a:xfrm>
                <a:off x="10169972" y="2078073"/>
                <a:ext cx="1501" cy="1501"/>
              </a:xfrm>
              <a:prstGeom prst="line">
                <a:avLst/>
              </a:pr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80" name="Line 3118"/>
              <p:cNvSpPr>
                <a:spLocks noChangeShapeType="1"/>
              </p:cNvSpPr>
              <p:nvPr/>
            </p:nvSpPr>
            <p:spPr bwMode="auto">
              <a:xfrm>
                <a:off x="10169972" y="2078073"/>
                <a:ext cx="1501" cy="1501"/>
              </a:xfrm>
              <a:prstGeom prst="line">
                <a:avLst/>
              </a:pr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81" name="Line 3119"/>
              <p:cNvSpPr>
                <a:spLocks noChangeShapeType="1"/>
              </p:cNvSpPr>
              <p:nvPr/>
            </p:nvSpPr>
            <p:spPr bwMode="auto">
              <a:xfrm>
                <a:off x="10097946" y="2948401"/>
                <a:ext cx="1501" cy="1501"/>
              </a:xfrm>
              <a:prstGeom prst="line">
                <a:avLst/>
              </a:pr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  <p:sp>
            <p:nvSpPr>
              <p:cNvPr id="382" name="Line 3120"/>
              <p:cNvSpPr>
                <a:spLocks noChangeShapeType="1"/>
              </p:cNvSpPr>
              <p:nvPr/>
            </p:nvSpPr>
            <p:spPr bwMode="auto">
              <a:xfrm>
                <a:off x="10464083" y="2735320"/>
                <a:ext cx="1501" cy="1501"/>
              </a:xfrm>
              <a:prstGeom prst="line">
                <a:avLst/>
              </a:pr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008">
                  <a:defRPr/>
                </a:pPr>
                <a:endParaRPr lang="da-DK" kern="0">
                  <a:solidFill>
                    <a:prstClr val="white"/>
                  </a:solidFill>
                  <a:ea typeface="ＭＳ Ｐゴシック" pitchFamily="-97" charset="-128"/>
                </a:endParaRPr>
              </a:p>
            </p:txBody>
          </p:sp>
        </p:grpSp>
        <p:sp>
          <p:nvSpPr>
            <p:cNvPr id="389" name="Oval 388"/>
            <p:cNvSpPr/>
            <p:nvPr/>
          </p:nvSpPr>
          <p:spPr>
            <a:xfrm>
              <a:off x="10330830" y="3942293"/>
              <a:ext cx="257480" cy="23166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83" name="Oval 382"/>
            <p:cNvSpPr/>
            <p:nvPr/>
          </p:nvSpPr>
          <p:spPr>
            <a:xfrm>
              <a:off x="10392781" y="3857740"/>
              <a:ext cx="274320" cy="27432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84" name="Oval 383"/>
            <p:cNvSpPr/>
            <p:nvPr/>
          </p:nvSpPr>
          <p:spPr>
            <a:xfrm>
              <a:off x="10239271" y="3895632"/>
              <a:ext cx="137160" cy="13716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87" name="Oval 386"/>
            <p:cNvSpPr/>
            <p:nvPr/>
          </p:nvSpPr>
          <p:spPr>
            <a:xfrm>
              <a:off x="10093691" y="4447787"/>
              <a:ext cx="137160" cy="13716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61" name="TextBox 260"/>
            <p:cNvSpPr txBox="1"/>
            <p:nvPr/>
          </p:nvSpPr>
          <p:spPr>
            <a:xfrm>
              <a:off x="10366620" y="4150302"/>
              <a:ext cx="126859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Philadelphia &amp; Camden</a:t>
              </a:r>
              <a:endParaRPr lang="en-US" sz="1600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34" name="TextBox 233"/>
            <p:cNvSpPr txBox="1"/>
            <p:nvPr/>
          </p:nvSpPr>
          <p:spPr>
            <a:xfrm>
              <a:off x="10625621" y="3821128"/>
              <a:ext cx="123283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New York</a:t>
              </a:r>
              <a:endParaRPr lang="en-US" sz="1600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38" name="TextBox 237"/>
            <p:cNvSpPr txBox="1"/>
            <p:nvPr/>
          </p:nvSpPr>
          <p:spPr>
            <a:xfrm>
              <a:off x="9405072" y="3731614"/>
              <a:ext cx="83419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Newark</a:t>
              </a:r>
              <a:endParaRPr lang="en-US" sz="1600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62" name="TextBox 261"/>
            <p:cNvSpPr txBox="1"/>
            <p:nvPr/>
          </p:nvSpPr>
          <p:spPr>
            <a:xfrm>
              <a:off x="9108951" y="4293332"/>
              <a:ext cx="121309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Delaware</a:t>
              </a:r>
              <a:endParaRPr lang="en-US" sz="1600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73" name="TextBox 272"/>
            <p:cNvSpPr txBox="1"/>
            <p:nvPr/>
          </p:nvSpPr>
          <p:spPr>
            <a:xfrm>
              <a:off x="10608774" y="3484179"/>
              <a:ext cx="146884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Connecticut</a:t>
              </a:r>
              <a:endParaRPr lang="en-US" sz="1600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91" name="Oval 390"/>
            <p:cNvSpPr/>
            <p:nvPr/>
          </p:nvSpPr>
          <p:spPr>
            <a:xfrm>
              <a:off x="10408464" y="3863704"/>
              <a:ext cx="91440" cy="914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92" name="Oval 391"/>
            <p:cNvSpPr/>
            <p:nvPr/>
          </p:nvSpPr>
          <p:spPr>
            <a:xfrm>
              <a:off x="10227042" y="3943534"/>
              <a:ext cx="91440" cy="914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93" name="Oval 392"/>
            <p:cNvSpPr/>
            <p:nvPr/>
          </p:nvSpPr>
          <p:spPr>
            <a:xfrm>
              <a:off x="9993630" y="4209238"/>
              <a:ext cx="257605" cy="24165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94" name="Oval 393"/>
            <p:cNvSpPr/>
            <p:nvPr/>
          </p:nvSpPr>
          <p:spPr>
            <a:xfrm>
              <a:off x="10183506" y="4364446"/>
              <a:ext cx="91440" cy="914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95" name="Oval 394"/>
            <p:cNvSpPr/>
            <p:nvPr/>
          </p:nvSpPr>
          <p:spPr>
            <a:xfrm>
              <a:off x="10147224" y="4270108"/>
              <a:ext cx="91440" cy="914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96" name="Oval 395"/>
            <p:cNvSpPr/>
            <p:nvPr/>
          </p:nvSpPr>
          <p:spPr>
            <a:xfrm>
              <a:off x="10316860" y="4590099"/>
              <a:ext cx="91440" cy="914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86" name="Oval 385"/>
            <p:cNvSpPr/>
            <p:nvPr/>
          </p:nvSpPr>
          <p:spPr>
            <a:xfrm>
              <a:off x="10158130" y="4248727"/>
              <a:ext cx="137160" cy="13716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7243248" y="2015933"/>
            <a:ext cx="405525" cy="724075"/>
            <a:chOff x="9448108" y="1341768"/>
            <a:chExt cx="612748" cy="1094076"/>
          </a:xfrm>
        </p:grpSpPr>
        <p:sp>
          <p:nvSpPr>
            <p:cNvPr id="398" name="Oval 397"/>
            <p:cNvSpPr/>
            <p:nvPr/>
          </p:nvSpPr>
          <p:spPr>
            <a:xfrm>
              <a:off x="9626720" y="1851341"/>
              <a:ext cx="276332" cy="27633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99" name="Oval 398"/>
            <p:cNvSpPr/>
            <p:nvPr/>
          </p:nvSpPr>
          <p:spPr>
            <a:xfrm>
              <a:off x="9481763" y="1938248"/>
              <a:ext cx="137160" cy="13716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00" name="Oval 399"/>
            <p:cNvSpPr/>
            <p:nvPr/>
          </p:nvSpPr>
          <p:spPr>
            <a:xfrm>
              <a:off x="9539638" y="2200145"/>
              <a:ext cx="137160" cy="13716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01" name="Oval 400"/>
            <p:cNvSpPr/>
            <p:nvPr/>
          </p:nvSpPr>
          <p:spPr>
            <a:xfrm>
              <a:off x="9588845" y="2033158"/>
              <a:ext cx="137160" cy="13716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04" name="Oval 403"/>
            <p:cNvSpPr/>
            <p:nvPr/>
          </p:nvSpPr>
          <p:spPr>
            <a:xfrm>
              <a:off x="9491276" y="2308116"/>
              <a:ext cx="91440" cy="914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05" name="Oval 404"/>
            <p:cNvSpPr/>
            <p:nvPr/>
          </p:nvSpPr>
          <p:spPr>
            <a:xfrm>
              <a:off x="9614648" y="2344404"/>
              <a:ext cx="91440" cy="914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06" name="Oval 405"/>
            <p:cNvSpPr/>
            <p:nvPr/>
          </p:nvSpPr>
          <p:spPr>
            <a:xfrm>
              <a:off x="9969416" y="1341768"/>
              <a:ext cx="91440" cy="914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07" name="Oval 406"/>
            <p:cNvSpPr/>
            <p:nvPr/>
          </p:nvSpPr>
          <p:spPr>
            <a:xfrm>
              <a:off x="9632578" y="2106841"/>
              <a:ext cx="91440" cy="914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08" name="Oval 407"/>
            <p:cNvSpPr/>
            <p:nvPr/>
          </p:nvSpPr>
          <p:spPr>
            <a:xfrm>
              <a:off x="9448108" y="1963260"/>
              <a:ext cx="91440" cy="914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09" name="Oval 408"/>
            <p:cNvSpPr/>
            <p:nvPr/>
          </p:nvSpPr>
          <p:spPr>
            <a:xfrm>
              <a:off x="9573688" y="1874965"/>
              <a:ext cx="91440" cy="914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10" name="Oval 409"/>
            <p:cNvSpPr/>
            <p:nvPr/>
          </p:nvSpPr>
          <p:spPr>
            <a:xfrm>
              <a:off x="9542932" y="2124771"/>
              <a:ext cx="91440" cy="914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11" name="Oval 410"/>
            <p:cNvSpPr/>
            <p:nvPr/>
          </p:nvSpPr>
          <p:spPr>
            <a:xfrm>
              <a:off x="9601203" y="2183042"/>
              <a:ext cx="91440" cy="914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412" name="Oval 411"/>
            <p:cNvSpPr/>
            <p:nvPr/>
          </p:nvSpPr>
          <p:spPr>
            <a:xfrm>
              <a:off x="9826556" y="1750073"/>
              <a:ext cx="91440" cy="914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67" name="Oval 266"/>
          <p:cNvSpPr/>
          <p:nvPr/>
        </p:nvSpPr>
        <p:spPr>
          <a:xfrm>
            <a:off x="5496544" y="3809374"/>
            <a:ext cx="107638" cy="1076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85" name="Rectangle 384"/>
          <p:cNvSpPr/>
          <p:nvPr/>
        </p:nvSpPr>
        <p:spPr>
          <a:xfrm>
            <a:off x="4833258" y="6470675"/>
            <a:ext cx="2695698" cy="3657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14" name="Oval 413"/>
          <p:cNvSpPr/>
          <p:nvPr/>
        </p:nvSpPr>
        <p:spPr>
          <a:xfrm>
            <a:off x="3272307" y="3134991"/>
            <a:ext cx="225522" cy="22386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03" name="Oval 402"/>
          <p:cNvSpPr/>
          <p:nvPr/>
        </p:nvSpPr>
        <p:spPr>
          <a:xfrm>
            <a:off x="3359351" y="3266623"/>
            <a:ext cx="107638" cy="1076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15" name="TextBox 414"/>
          <p:cNvSpPr txBox="1"/>
          <p:nvPr/>
        </p:nvSpPr>
        <p:spPr>
          <a:xfrm>
            <a:off x="5907264" y="3424073"/>
            <a:ext cx="1213093" cy="338520"/>
          </a:xfrm>
          <a:prstGeom prst="rect">
            <a:avLst/>
          </a:prstGeom>
          <a:noFill/>
        </p:spPr>
        <p:txBody>
          <a:bodyPr wrap="square" lIns="91403" tIns="45703" rIns="91403" bIns="45703" rtlCol="0">
            <a:spAutoFit/>
          </a:bodyPr>
          <a:lstStyle/>
          <a:p>
            <a:r>
              <a:rPr lang="en-US" sz="1600" dirty="0" smtClean="0">
                <a:solidFill>
                  <a:prstClr val="black"/>
                </a:solidFill>
                <a:latin typeface="Calibri" panose="020F0502020204030204" pitchFamily="34" charset="0"/>
              </a:rPr>
              <a:t>Nashville</a:t>
            </a:r>
            <a:endParaRPr lang="en-US" sz="16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416" name="Oval 415"/>
          <p:cNvSpPr/>
          <p:nvPr/>
        </p:nvSpPr>
        <p:spPr>
          <a:xfrm>
            <a:off x="5367324" y="4641904"/>
            <a:ext cx="107638" cy="1076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17" name="TextBox 416"/>
          <p:cNvSpPr txBox="1"/>
          <p:nvPr/>
        </p:nvSpPr>
        <p:spPr>
          <a:xfrm>
            <a:off x="5370874" y="4366401"/>
            <a:ext cx="1439584" cy="338520"/>
          </a:xfrm>
          <a:prstGeom prst="rect">
            <a:avLst/>
          </a:prstGeom>
          <a:noFill/>
        </p:spPr>
        <p:txBody>
          <a:bodyPr wrap="square" lIns="91403" tIns="45703" rIns="91403" bIns="45703" rtlCol="0">
            <a:spAutoFit/>
          </a:bodyPr>
          <a:lstStyle/>
          <a:p>
            <a:r>
              <a:rPr lang="en-US" sz="1600" dirty="0" smtClean="0">
                <a:solidFill>
                  <a:prstClr val="black"/>
                </a:solidFill>
                <a:latin typeface="Calibri" panose="020F0502020204030204" pitchFamily="34" charset="0"/>
              </a:rPr>
              <a:t>Baton Rouge</a:t>
            </a:r>
            <a:endParaRPr lang="en-US" sz="16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418" name="Oval 417"/>
          <p:cNvSpPr/>
          <p:nvPr/>
        </p:nvSpPr>
        <p:spPr>
          <a:xfrm>
            <a:off x="1045413" y="3181099"/>
            <a:ext cx="118872" cy="118872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21" name="TextBox 420"/>
          <p:cNvSpPr txBox="1"/>
          <p:nvPr/>
        </p:nvSpPr>
        <p:spPr>
          <a:xfrm>
            <a:off x="1245728" y="3048411"/>
            <a:ext cx="1055228" cy="338520"/>
          </a:xfrm>
          <a:prstGeom prst="rect">
            <a:avLst/>
          </a:prstGeom>
          <a:noFill/>
        </p:spPr>
        <p:txBody>
          <a:bodyPr wrap="square" lIns="91403" tIns="45703" rIns="91403" bIns="45703" rtlCol="0">
            <a:spAutoFit/>
          </a:bodyPr>
          <a:lstStyle/>
          <a:p>
            <a:r>
              <a:rPr lang="en-US" sz="1600" dirty="0" smtClean="0">
                <a:solidFill>
                  <a:prstClr val="black"/>
                </a:solidFill>
                <a:latin typeface="Calibri" panose="020F0502020204030204" pitchFamily="34" charset="0"/>
              </a:rPr>
              <a:t>Bay Area</a:t>
            </a:r>
            <a:endParaRPr lang="en-US" sz="16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422" name="Oval 421"/>
          <p:cNvSpPr/>
          <p:nvPr/>
        </p:nvSpPr>
        <p:spPr>
          <a:xfrm>
            <a:off x="4414722" y="4341797"/>
            <a:ext cx="118872" cy="118872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23" name="Oval 422"/>
          <p:cNvSpPr/>
          <p:nvPr/>
        </p:nvSpPr>
        <p:spPr>
          <a:xfrm>
            <a:off x="4316189" y="4960922"/>
            <a:ext cx="118872" cy="118872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88" name="Oval 387"/>
          <p:cNvSpPr/>
          <p:nvPr/>
        </p:nvSpPr>
        <p:spPr>
          <a:xfrm>
            <a:off x="5403276" y="4776327"/>
            <a:ext cx="263500" cy="24150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97" tIns="38098" rIns="76197" bIns="38098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24" name="TextBox 423"/>
          <p:cNvSpPr txBox="1"/>
          <p:nvPr/>
        </p:nvSpPr>
        <p:spPr>
          <a:xfrm>
            <a:off x="3826126" y="4023180"/>
            <a:ext cx="1801964" cy="338520"/>
          </a:xfrm>
          <a:prstGeom prst="rect">
            <a:avLst/>
          </a:prstGeom>
          <a:noFill/>
        </p:spPr>
        <p:txBody>
          <a:bodyPr wrap="square" lIns="91403" tIns="45703" rIns="91403" bIns="45703" rtlCol="0">
            <a:spAutoFit/>
          </a:bodyPr>
          <a:lstStyle/>
          <a:p>
            <a:r>
              <a:rPr lang="en-US" sz="1600" dirty="0" smtClean="0">
                <a:solidFill>
                  <a:prstClr val="black"/>
                </a:solidFill>
                <a:latin typeface="Calibri" panose="020F0502020204030204" pitchFamily="34" charset="0"/>
              </a:rPr>
              <a:t>Dallas Fort Worth</a:t>
            </a:r>
            <a:endParaRPr lang="en-US" sz="16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425" name="TextBox 424"/>
          <p:cNvSpPr txBox="1"/>
          <p:nvPr/>
        </p:nvSpPr>
        <p:spPr>
          <a:xfrm>
            <a:off x="3155944" y="4815591"/>
            <a:ext cx="1194848" cy="338520"/>
          </a:xfrm>
          <a:prstGeom prst="rect">
            <a:avLst/>
          </a:prstGeom>
          <a:noFill/>
        </p:spPr>
        <p:txBody>
          <a:bodyPr wrap="square" lIns="91403" tIns="45703" rIns="91403" bIns="45703" rtlCol="0">
            <a:spAutoFit/>
          </a:bodyPr>
          <a:lstStyle/>
          <a:p>
            <a:r>
              <a:rPr lang="en-US" sz="1600" dirty="0" smtClean="0">
                <a:solidFill>
                  <a:prstClr val="black"/>
                </a:solidFill>
                <a:latin typeface="Calibri" panose="020F0502020204030204" pitchFamily="34" charset="0"/>
              </a:rPr>
              <a:t>San Antonio</a:t>
            </a:r>
            <a:endParaRPr lang="en-US" sz="16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426" name="Oval 425"/>
          <p:cNvSpPr/>
          <p:nvPr/>
        </p:nvSpPr>
        <p:spPr>
          <a:xfrm>
            <a:off x="9755406" y="4761439"/>
            <a:ext cx="118872" cy="118872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27" name="TextBox 426"/>
          <p:cNvSpPr txBox="1"/>
          <p:nvPr/>
        </p:nvSpPr>
        <p:spPr>
          <a:xfrm>
            <a:off x="9600135" y="4865804"/>
            <a:ext cx="1779685" cy="338520"/>
          </a:xfrm>
          <a:prstGeom prst="rect">
            <a:avLst/>
          </a:prstGeom>
          <a:noFill/>
        </p:spPr>
        <p:txBody>
          <a:bodyPr wrap="square" lIns="91403" tIns="45703" rIns="91403" bIns="45703" rtlCol="0">
            <a:spAutoFit/>
          </a:bodyPr>
          <a:lstStyle/>
          <a:p>
            <a:r>
              <a:rPr lang="en-US" sz="1600" dirty="0" smtClean="0">
                <a:solidFill>
                  <a:prstClr val="black"/>
                </a:solidFill>
                <a:latin typeface="Calibri" panose="020F0502020204030204" pitchFamily="34" charset="0"/>
              </a:rPr>
              <a:t>Washington, D.C.</a:t>
            </a:r>
            <a:endParaRPr lang="en-US" sz="16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268" name="Oval 267"/>
          <p:cNvSpPr/>
          <p:nvPr/>
        </p:nvSpPr>
        <p:spPr>
          <a:xfrm>
            <a:off x="5481866" y="4775664"/>
            <a:ext cx="107638" cy="1076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28" name="Oval 427"/>
          <p:cNvSpPr/>
          <p:nvPr/>
        </p:nvSpPr>
        <p:spPr>
          <a:xfrm>
            <a:off x="4502661" y="4390169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30" name="Oval 429"/>
          <p:cNvSpPr/>
          <p:nvPr/>
        </p:nvSpPr>
        <p:spPr>
          <a:xfrm>
            <a:off x="9865166" y="4798424"/>
            <a:ext cx="124469" cy="11740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97" tIns="38098" rIns="76197" bIns="38098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31" name="Oval 430"/>
          <p:cNvSpPr/>
          <p:nvPr/>
        </p:nvSpPr>
        <p:spPr>
          <a:xfrm>
            <a:off x="3042265" y="3271608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33" name="Oval 432"/>
          <p:cNvSpPr/>
          <p:nvPr/>
        </p:nvSpPr>
        <p:spPr>
          <a:xfrm>
            <a:off x="1142913" y="3376893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35" name="Oval 434"/>
          <p:cNvSpPr/>
          <p:nvPr/>
        </p:nvSpPr>
        <p:spPr>
          <a:xfrm>
            <a:off x="10365929" y="3570683"/>
            <a:ext cx="91440" cy="914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97" tIns="38098" rIns="76197" bIns="38098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38" name="Oval 437"/>
          <p:cNvSpPr/>
          <p:nvPr/>
        </p:nvSpPr>
        <p:spPr>
          <a:xfrm flipV="1">
            <a:off x="4380619" y="5644475"/>
            <a:ext cx="62220" cy="6087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40" name="Oval 439"/>
          <p:cNvSpPr/>
          <p:nvPr/>
        </p:nvSpPr>
        <p:spPr>
          <a:xfrm>
            <a:off x="5278678" y="3317839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41" name="Oval 440"/>
          <p:cNvSpPr/>
          <p:nvPr/>
        </p:nvSpPr>
        <p:spPr>
          <a:xfrm>
            <a:off x="1183733" y="3461937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42" name="Oval 441"/>
          <p:cNvSpPr/>
          <p:nvPr/>
        </p:nvSpPr>
        <p:spPr>
          <a:xfrm>
            <a:off x="6299028" y="4013862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44" name="Oval 443"/>
          <p:cNvSpPr/>
          <p:nvPr/>
        </p:nvSpPr>
        <p:spPr>
          <a:xfrm>
            <a:off x="5798102" y="3656258"/>
            <a:ext cx="127622" cy="12762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20" name="Oval 419"/>
          <p:cNvSpPr/>
          <p:nvPr/>
        </p:nvSpPr>
        <p:spPr>
          <a:xfrm>
            <a:off x="9214133" y="3317011"/>
            <a:ext cx="91440" cy="914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32" name="Oval 431"/>
          <p:cNvSpPr/>
          <p:nvPr/>
        </p:nvSpPr>
        <p:spPr>
          <a:xfrm>
            <a:off x="10047407" y="3463374"/>
            <a:ext cx="91440" cy="914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36" name="Oval 435"/>
          <p:cNvSpPr/>
          <p:nvPr/>
        </p:nvSpPr>
        <p:spPr>
          <a:xfrm>
            <a:off x="9873883" y="4486433"/>
            <a:ext cx="91440" cy="914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97" tIns="38098" rIns="76197" bIns="38098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39" name="Oval 438"/>
          <p:cNvSpPr/>
          <p:nvPr/>
        </p:nvSpPr>
        <p:spPr>
          <a:xfrm>
            <a:off x="10039165" y="4605027"/>
            <a:ext cx="91440" cy="914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97" tIns="38098" rIns="76197" bIns="38098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43" name="Oval 442"/>
          <p:cNvSpPr/>
          <p:nvPr/>
        </p:nvSpPr>
        <p:spPr>
          <a:xfrm flipV="1">
            <a:off x="4822051" y="4922696"/>
            <a:ext cx="62220" cy="6087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13" name="Oval 412"/>
          <p:cNvSpPr/>
          <p:nvPr/>
        </p:nvSpPr>
        <p:spPr>
          <a:xfrm>
            <a:off x="5872542" y="3636370"/>
            <a:ext cx="107638" cy="1076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45" name="Oval 444"/>
          <p:cNvSpPr/>
          <p:nvPr/>
        </p:nvSpPr>
        <p:spPr>
          <a:xfrm flipV="1">
            <a:off x="9772623" y="4573316"/>
            <a:ext cx="62220" cy="6087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46" name="Oval 445"/>
          <p:cNvSpPr/>
          <p:nvPr/>
        </p:nvSpPr>
        <p:spPr>
          <a:xfrm>
            <a:off x="10674644" y="3089634"/>
            <a:ext cx="91440" cy="914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47" name="Oval 446"/>
          <p:cNvSpPr/>
          <p:nvPr/>
        </p:nvSpPr>
        <p:spPr>
          <a:xfrm>
            <a:off x="10714332" y="3129322"/>
            <a:ext cx="91440" cy="914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48" name="Oval 447"/>
          <p:cNvSpPr/>
          <p:nvPr/>
        </p:nvSpPr>
        <p:spPr>
          <a:xfrm>
            <a:off x="10436519" y="3311884"/>
            <a:ext cx="91440" cy="914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49" name="Oval 448"/>
          <p:cNvSpPr/>
          <p:nvPr/>
        </p:nvSpPr>
        <p:spPr>
          <a:xfrm>
            <a:off x="10833394" y="3256322"/>
            <a:ext cx="91440" cy="914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50" name="Oval 449"/>
          <p:cNvSpPr/>
          <p:nvPr/>
        </p:nvSpPr>
        <p:spPr>
          <a:xfrm>
            <a:off x="4623352" y="3775321"/>
            <a:ext cx="127622" cy="12762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52" name="Oval 451"/>
          <p:cNvSpPr/>
          <p:nvPr/>
        </p:nvSpPr>
        <p:spPr>
          <a:xfrm>
            <a:off x="1215483" y="3120624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53" name="Oval 452"/>
          <p:cNvSpPr/>
          <p:nvPr/>
        </p:nvSpPr>
        <p:spPr>
          <a:xfrm>
            <a:off x="6291090" y="4037674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55" name="Oval 454"/>
          <p:cNvSpPr/>
          <p:nvPr/>
        </p:nvSpPr>
        <p:spPr>
          <a:xfrm>
            <a:off x="6091472" y="2410052"/>
            <a:ext cx="127622" cy="12762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56" name="Oval 455"/>
          <p:cNvSpPr/>
          <p:nvPr/>
        </p:nvSpPr>
        <p:spPr>
          <a:xfrm>
            <a:off x="10308338" y="3812228"/>
            <a:ext cx="91440" cy="914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57" name="Oval 456"/>
          <p:cNvSpPr/>
          <p:nvPr/>
        </p:nvSpPr>
        <p:spPr>
          <a:xfrm>
            <a:off x="10331913" y="3804733"/>
            <a:ext cx="91440" cy="914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60" name="Oval 459"/>
          <p:cNvSpPr/>
          <p:nvPr/>
        </p:nvSpPr>
        <p:spPr>
          <a:xfrm>
            <a:off x="1197839" y="3595993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61" name="Oval 460"/>
          <p:cNvSpPr/>
          <p:nvPr/>
        </p:nvSpPr>
        <p:spPr>
          <a:xfrm>
            <a:off x="1522408" y="4132236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62" name="Oval 461"/>
          <p:cNvSpPr/>
          <p:nvPr/>
        </p:nvSpPr>
        <p:spPr>
          <a:xfrm flipV="1">
            <a:off x="4507619" y="5707972"/>
            <a:ext cx="62220" cy="6087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63" name="Oval 462"/>
          <p:cNvSpPr/>
          <p:nvPr/>
        </p:nvSpPr>
        <p:spPr>
          <a:xfrm flipV="1">
            <a:off x="4488409" y="4817378"/>
            <a:ext cx="62220" cy="6087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64" name="Oval 463"/>
          <p:cNvSpPr/>
          <p:nvPr/>
        </p:nvSpPr>
        <p:spPr>
          <a:xfrm flipV="1">
            <a:off x="4296309" y="4990268"/>
            <a:ext cx="62220" cy="6087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65" name="Oval 464"/>
          <p:cNvSpPr/>
          <p:nvPr/>
        </p:nvSpPr>
        <p:spPr>
          <a:xfrm flipV="1">
            <a:off x="6814403" y="3747303"/>
            <a:ext cx="62220" cy="6087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66" name="Oval 465"/>
          <p:cNvSpPr/>
          <p:nvPr/>
        </p:nvSpPr>
        <p:spPr>
          <a:xfrm>
            <a:off x="4788094" y="3200388"/>
            <a:ext cx="127622" cy="12762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67" name="Oval 466"/>
          <p:cNvSpPr/>
          <p:nvPr/>
        </p:nvSpPr>
        <p:spPr>
          <a:xfrm>
            <a:off x="6820429" y="5092364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68" name="Oval 467"/>
          <p:cNvSpPr/>
          <p:nvPr/>
        </p:nvSpPr>
        <p:spPr>
          <a:xfrm>
            <a:off x="6992258" y="4808473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69" name="Oval 468"/>
          <p:cNvSpPr/>
          <p:nvPr/>
        </p:nvSpPr>
        <p:spPr>
          <a:xfrm>
            <a:off x="7223854" y="5309019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70" name="Oval 469"/>
          <p:cNvSpPr/>
          <p:nvPr/>
        </p:nvSpPr>
        <p:spPr>
          <a:xfrm>
            <a:off x="1940770" y="3698923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78" name="Oval 477"/>
          <p:cNvSpPr/>
          <p:nvPr/>
        </p:nvSpPr>
        <p:spPr>
          <a:xfrm>
            <a:off x="7461210" y="2272580"/>
            <a:ext cx="60232" cy="5827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71" name="Oval 470"/>
          <p:cNvSpPr/>
          <p:nvPr/>
        </p:nvSpPr>
        <p:spPr>
          <a:xfrm>
            <a:off x="1567229" y="4169586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72" name="Oval 471"/>
          <p:cNvSpPr/>
          <p:nvPr/>
        </p:nvSpPr>
        <p:spPr>
          <a:xfrm>
            <a:off x="3447787" y="3348713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73" name="Oval 472"/>
          <p:cNvSpPr/>
          <p:nvPr/>
        </p:nvSpPr>
        <p:spPr>
          <a:xfrm flipV="1">
            <a:off x="5369963" y="3801341"/>
            <a:ext cx="62220" cy="6087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74" name="Oval 473"/>
          <p:cNvSpPr/>
          <p:nvPr/>
        </p:nvSpPr>
        <p:spPr>
          <a:xfrm>
            <a:off x="5539132" y="2520775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75" name="Oval 474"/>
          <p:cNvSpPr/>
          <p:nvPr/>
        </p:nvSpPr>
        <p:spPr>
          <a:xfrm>
            <a:off x="6893556" y="2019784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76" name="Oval 475"/>
          <p:cNvSpPr/>
          <p:nvPr/>
        </p:nvSpPr>
        <p:spPr>
          <a:xfrm>
            <a:off x="7294669" y="2013361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77" name="Oval 476"/>
          <p:cNvSpPr/>
          <p:nvPr/>
        </p:nvSpPr>
        <p:spPr>
          <a:xfrm>
            <a:off x="10274942" y="3654321"/>
            <a:ext cx="137160" cy="13716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79" name="Oval 478"/>
          <p:cNvSpPr/>
          <p:nvPr/>
        </p:nvSpPr>
        <p:spPr>
          <a:xfrm>
            <a:off x="3169265" y="3331621"/>
            <a:ext cx="71758" cy="717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818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/>
          </p:nvPr>
        </p:nvGraphicFramePr>
        <p:xfrm>
          <a:off x="203077" y="1305724"/>
          <a:ext cx="11571889" cy="5092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720767" y="6509702"/>
            <a:ext cx="189148" cy="238523"/>
          </a:xfrm>
        </p:spPr>
        <p:txBody>
          <a:bodyPr lIns="76197" tIns="38098" rIns="76197" bIns="38098"/>
          <a:lstStyle/>
          <a:p>
            <a:pPr algn="ctr"/>
            <a:fld id="{A403AE0C-CABD-4C33-9D01-B9FE846EA69A}" type="slidenum">
              <a:rPr>
                <a:solidFill>
                  <a:srgbClr val="81848A"/>
                </a:solidFill>
              </a:rPr>
              <a:pPr algn="ctr"/>
              <a:t>8</a:t>
            </a:fld>
            <a:endParaRPr>
              <a:solidFill>
                <a:srgbClr val="81848A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71450" y="222306"/>
            <a:ext cx="11734800" cy="1138739"/>
          </a:xfrm>
          <a:prstGeom prst="rect">
            <a:avLst/>
          </a:prstGeom>
        </p:spPr>
        <p:txBody>
          <a:bodyPr wrap="square" lIns="91403" tIns="45703" rIns="91403" bIns="45703">
            <a:spAutoFit/>
          </a:bodyPr>
          <a:lstStyle/>
          <a:p>
            <a:pPr algn="just"/>
            <a:r>
              <a:rPr lang="en-US" sz="2000" dirty="0">
                <a:solidFill>
                  <a:prstClr val="black"/>
                </a:solidFill>
                <a:latin typeface="Calibri" panose="020F0502020204030204" pitchFamily="34" charset="0"/>
              </a:rPr>
              <a:t>Relay is rapidly expanding in scope and impact, in response to high demand for quality training programs for teachers and school leaders across the country</a:t>
            </a:r>
            <a:r>
              <a:rPr lang="en-US" sz="2400" dirty="0">
                <a:solidFill>
                  <a:prstClr val="black"/>
                </a:solidFill>
              </a:rPr>
              <a:t>.</a:t>
            </a:r>
          </a:p>
          <a:p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019166" y="4295230"/>
            <a:ext cx="614149" cy="307742"/>
          </a:xfrm>
          <a:prstGeom prst="rect">
            <a:avLst/>
          </a:prstGeom>
          <a:noFill/>
        </p:spPr>
        <p:txBody>
          <a:bodyPr wrap="square" lIns="91403" tIns="45703" rIns="91403" bIns="45703" rtlCol="0">
            <a:spAutoFit/>
          </a:bodyPr>
          <a:lstStyle/>
          <a:p>
            <a:r>
              <a:rPr lang="en-US" sz="1400" dirty="0" smtClean="0">
                <a:solidFill>
                  <a:prstClr val="black"/>
                </a:solidFill>
                <a:latin typeface="Calibri" panose="020F0502020204030204" pitchFamily="34" charset="0"/>
              </a:rPr>
              <a:t>1,010</a:t>
            </a:r>
            <a:endParaRPr lang="en-US" sz="14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818790" y="3925894"/>
            <a:ext cx="682388" cy="307742"/>
          </a:xfrm>
          <a:prstGeom prst="rect">
            <a:avLst/>
          </a:prstGeom>
          <a:noFill/>
        </p:spPr>
        <p:txBody>
          <a:bodyPr wrap="square" lIns="91403" tIns="45703" rIns="91403" bIns="45703" rtlCol="0">
            <a:spAutoFit/>
          </a:bodyPr>
          <a:lstStyle/>
          <a:p>
            <a:r>
              <a:rPr lang="en-US" sz="1400" dirty="0" smtClean="0">
                <a:solidFill>
                  <a:prstClr val="black"/>
                </a:solidFill>
                <a:latin typeface="Calibri" panose="020F0502020204030204" pitchFamily="34" charset="0"/>
              </a:rPr>
              <a:t>1,380</a:t>
            </a:r>
            <a:endParaRPr lang="en-US" sz="14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685060" y="3577409"/>
            <a:ext cx="777924" cy="307742"/>
          </a:xfrm>
          <a:prstGeom prst="rect">
            <a:avLst/>
          </a:prstGeom>
          <a:noFill/>
        </p:spPr>
        <p:txBody>
          <a:bodyPr wrap="square" lIns="91403" tIns="45703" rIns="91403" bIns="45703" rtlCol="0">
            <a:spAutoFit/>
          </a:bodyPr>
          <a:lstStyle/>
          <a:p>
            <a:r>
              <a:rPr lang="en-US" sz="1400" dirty="0" smtClean="0">
                <a:solidFill>
                  <a:prstClr val="black"/>
                </a:solidFill>
                <a:latin typeface="Calibri" panose="020F0502020204030204" pitchFamily="34" charset="0"/>
              </a:rPr>
              <a:t>1,740</a:t>
            </a:r>
            <a:endParaRPr lang="en-US" sz="14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483065" y="2920414"/>
            <a:ext cx="777924" cy="307742"/>
          </a:xfrm>
          <a:prstGeom prst="rect">
            <a:avLst/>
          </a:prstGeom>
          <a:noFill/>
        </p:spPr>
        <p:txBody>
          <a:bodyPr wrap="square" lIns="91403" tIns="45703" rIns="91403" bIns="45703" rtlCol="0">
            <a:spAutoFit/>
          </a:bodyPr>
          <a:lstStyle/>
          <a:p>
            <a:r>
              <a:rPr lang="en-US" sz="1400" dirty="0" smtClean="0">
                <a:solidFill>
                  <a:prstClr val="black"/>
                </a:solidFill>
                <a:latin typeface="Calibri" panose="020F0502020204030204" pitchFamily="34" charset="0"/>
              </a:rPr>
              <a:t>2,400</a:t>
            </a:r>
            <a:endParaRPr lang="en-US" sz="14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692286" y="6287795"/>
            <a:ext cx="2695698" cy="3657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3" rIns="91403" bIns="45703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311978" y="2462803"/>
            <a:ext cx="777924" cy="307742"/>
          </a:xfrm>
          <a:prstGeom prst="rect">
            <a:avLst/>
          </a:prstGeom>
          <a:noFill/>
        </p:spPr>
        <p:txBody>
          <a:bodyPr wrap="square" lIns="91403" tIns="45703" rIns="91403" bIns="45703" rtlCol="0">
            <a:spAutoFit/>
          </a:bodyPr>
          <a:lstStyle/>
          <a:p>
            <a:r>
              <a:rPr lang="en-US" sz="1400" dirty="0" smtClean="0">
                <a:solidFill>
                  <a:prstClr val="black"/>
                </a:solidFill>
                <a:latin typeface="Calibri" panose="020F0502020204030204" pitchFamily="34" charset="0"/>
              </a:rPr>
              <a:t>2,850</a:t>
            </a:r>
            <a:endParaRPr lang="en-US" sz="14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107150" y="2020838"/>
            <a:ext cx="777924" cy="307742"/>
          </a:xfrm>
          <a:prstGeom prst="rect">
            <a:avLst/>
          </a:prstGeom>
          <a:noFill/>
        </p:spPr>
        <p:txBody>
          <a:bodyPr wrap="square" lIns="91403" tIns="45703" rIns="91403" bIns="45703" rtlCol="0">
            <a:spAutoFit/>
          </a:bodyPr>
          <a:lstStyle/>
          <a:p>
            <a:r>
              <a:rPr lang="en-US" sz="1400" dirty="0" smtClean="0">
                <a:solidFill>
                  <a:prstClr val="black"/>
                </a:solidFill>
                <a:latin typeface="Calibri" panose="020F0502020204030204" pitchFamily="34" charset="0"/>
              </a:rPr>
              <a:t>3,300</a:t>
            </a:r>
            <a:endParaRPr lang="en-US" sz="14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Left Brace 13"/>
          <p:cNvSpPr/>
          <p:nvPr/>
        </p:nvSpPr>
        <p:spPr>
          <a:xfrm rot="5400000">
            <a:off x="2497980" y="3317502"/>
            <a:ext cx="266447" cy="3207546"/>
          </a:xfrm>
          <a:prstGeom prst="leftBrace">
            <a:avLst>
              <a:gd name="adj1" fmla="val 30020"/>
              <a:gd name="adj2" fmla="val 50000"/>
            </a:avLst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068152" y="4238666"/>
            <a:ext cx="30717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778ABC"/>
                </a:solidFill>
                <a:latin typeface="Calibri" panose="020F0502020204030204" pitchFamily="34" charset="0"/>
              </a:rPr>
              <a:t>Teacher U at Hunter College</a:t>
            </a:r>
            <a:endParaRPr lang="en-US" dirty="0">
              <a:solidFill>
                <a:srgbClr val="778ABC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477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2" descr="C:\Users\cfraser\AppData\Local\Microsoft\Windows\Temporary Internet Files\Content.Outlook\X0NEFL2X\IMG_8150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86603"/>
            <a:ext cx="12047564" cy="8031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9811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7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34B8D"/>
      </a:accent1>
      <a:accent2>
        <a:srgbClr val="778ABC"/>
      </a:accent2>
      <a:accent3>
        <a:srgbClr val="B30838"/>
      </a:accent3>
      <a:accent4>
        <a:srgbClr val="FFCA38"/>
      </a:accent4>
      <a:accent5>
        <a:srgbClr val="81848A"/>
      </a:accent5>
      <a:accent6>
        <a:srgbClr val="DDDEDD"/>
      </a:accent6>
      <a:hlink>
        <a:srgbClr val="0563C1"/>
      </a:hlink>
      <a:folHlink>
        <a:srgbClr val="954F72"/>
      </a:folHlink>
    </a:clrScheme>
    <a:fontScheme name="Custom 71">
      <a:majorFont>
        <a:latin typeface="Knockout 30 Junior Welterwt"/>
        <a:ea typeface=""/>
        <a:cs typeface=""/>
      </a:majorFont>
      <a:minorFont>
        <a:latin typeface="Knockout 30 Junior Welterw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5_Office Theme">
  <a:themeElements>
    <a:clrScheme name="Custom 17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34B8D"/>
      </a:accent1>
      <a:accent2>
        <a:srgbClr val="778ABC"/>
      </a:accent2>
      <a:accent3>
        <a:srgbClr val="B30838"/>
      </a:accent3>
      <a:accent4>
        <a:srgbClr val="FFCA38"/>
      </a:accent4>
      <a:accent5>
        <a:srgbClr val="81848A"/>
      </a:accent5>
      <a:accent6>
        <a:srgbClr val="DDDEDD"/>
      </a:accent6>
      <a:hlink>
        <a:srgbClr val="0563C1"/>
      </a:hlink>
      <a:folHlink>
        <a:srgbClr val="954F72"/>
      </a:folHlink>
    </a:clrScheme>
    <a:fontScheme name="Custom 71">
      <a:majorFont>
        <a:latin typeface="Knockout 30 Junior Welterwt"/>
        <a:ea typeface=""/>
        <a:cs typeface=""/>
      </a:majorFont>
      <a:minorFont>
        <a:latin typeface="Knockout 30 Junior Welterw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4_Office Theme">
  <a:themeElements>
    <a:clrScheme name="Custom 17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34B8D"/>
      </a:accent1>
      <a:accent2>
        <a:srgbClr val="778ABC"/>
      </a:accent2>
      <a:accent3>
        <a:srgbClr val="B30838"/>
      </a:accent3>
      <a:accent4>
        <a:srgbClr val="FFCA38"/>
      </a:accent4>
      <a:accent5>
        <a:srgbClr val="81848A"/>
      </a:accent5>
      <a:accent6>
        <a:srgbClr val="DDDEDD"/>
      </a:accent6>
      <a:hlink>
        <a:srgbClr val="0563C1"/>
      </a:hlink>
      <a:folHlink>
        <a:srgbClr val="954F72"/>
      </a:folHlink>
    </a:clrScheme>
    <a:fontScheme name="Custom 71">
      <a:majorFont>
        <a:latin typeface="Knockout 30 Junior Welterwt"/>
        <a:ea typeface=""/>
        <a:cs typeface=""/>
      </a:majorFont>
      <a:minorFont>
        <a:latin typeface="Knockout 30 Junior Welterw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6_Office Theme">
  <a:themeElements>
    <a:clrScheme name="Custom 17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34B8D"/>
      </a:accent1>
      <a:accent2>
        <a:srgbClr val="778ABC"/>
      </a:accent2>
      <a:accent3>
        <a:srgbClr val="B30838"/>
      </a:accent3>
      <a:accent4>
        <a:srgbClr val="FFCA38"/>
      </a:accent4>
      <a:accent5>
        <a:srgbClr val="81848A"/>
      </a:accent5>
      <a:accent6>
        <a:srgbClr val="DDDEDD"/>
      </a:accent6>
      <a:hlink>
        <a:srgbClr val="0563C1"/>
      </a:hlink>
      <a:folHlink>
        <a:srgbClr val="954F72"/>
      </a:folHlink>
    </a:clrScheme>
    <a:fontScheme name="Custom 71">
      <a:majorFont>
        <a:latin typeface="Knockout 30 Junior Welterwt"/>
        <a:ea typeface=""/>
        <a:cs typeface=""/>
      </a:majorFont>
      <a:minorFont>
        <a:latin typeface="Knockout 30 Junior Welterw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7_Office Theme">
  <a:themeElements>
    <a:clrScheme name="Custom 17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34B8D"/>
      </a:accent1>
      <a:accent2>
        <a:srgbClr val="778ABC"/>
      </a:accent2>
      <a:accent3>
        <a:srgbClr val="B30838"/>
      </a:accent3>
      <a:accent4>
        <a:srgbClr val="FFCA38"/>
      </a:accent4>
      <a:accent5>
        <a:srgbClr val="81848A"/>
      </a:accent5>
      <a:accent6>
        <a:srgbClr val="DDDEDD"/>
      </a:accent6>
      <a:hlink>
        <a:srgbClr val="0563C1"/>
      </a:hlink>
      <a:folHlink>
        <a:srgbClr val="954F72"/>
      </a:folHlink>
    </a:clrScheme>
    <a:fontScheme name="Custom 71">
      <a:majorFont>
        <a:latin typeface="Knockout 30 Junior Welterwt"/>
        <a:ea typeface=""/>
        <a:cs typeface=""/>
      </a:majorFont>
      <a:minorFont>
        <a:latin typeface="Knockout 30 Junior Welterw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_Office Theme">
  <a:themeElements>
    <a:clrScheme name="Custom 17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34B8D"/>
      </a:accent1>
      <a:accent2>
        <a:srgbClr val="778ABC"/>
      </a:accent2>
      <a:accent3>
        <a:srgbClr val="B30838"/>
      </a:accent3>
      <a:accent4>
        <a:srgbClr val="FFCA38"/>
      </a:accent4>
      <a:accent5>
        <a:srgbClr val="81848A"/>
      </a:accent5>
      <a:accent6>
        <a:srgbClr val="DDDEDD"/>
      </a:accent6>
      <a:hlink>
        <a:srgbClr val="0563C1"/>
      </a:hlink>
      <a:folHlink>
        <a:srgbClr val="954F72"/>
      </a:folHlink>
    </a:clrScheme>
    <a:fontScheme name="Custom 71">
      <a:majorFont>
        <a:latin typeface="Knockout 30 Junior Welterwt"/>
        <a:ea typeface=""/>
        <a:cs typeface=""/>
      </a:majorFont>
      <a:minorFont>
        <a:latin typeface="Knockout 30 Junior Welterw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3_Office Theme">
  <a:themeElements>
    <a:clrScheme name="Custom 17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34B8D"/>
      </a:accent1>
      <a:accent2>
        <a:srgbClr val="778ABC"/>
      </a:accent2>
      <a:accent3>
        <a:srgbClr val="B30838"/>
      </a:accent3>
      <a:accent4>
        <a:srgbClr val="FFCA38"/>
      </a:accent4>
      <a:accent5>
        <a:srgbClr val="81848A"/>
      </a:accent5>
      <a:accent6>
        <a:srgbClr val="DDDEDD"/>
      </a:accent6>
      <a:hlink>
        <a:srgbClr val="0563C1"/>
      </a:hlink>
      <a:folHlink>
        <a:srgbClr val="954F72"/>
      </a:folHlink>
    </a:clrScheme>
    <a:fontScheme name="Custom 71">
      <a:majorFont>
        <a:latin typeface="Knockout 30 Junior Welterwt"/>
        <a:ea typeface=""/>
        <a:cs typeface=""/>
      </a:majorFont>
      <a:minorFont>
        <a:latin typeface="Knockout 30 Junior Welterw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8_Office Theme">
  <a:themeElements>
    <a:clrScheme name="Custom 17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34B8D"/>
      </a:accent1>
      <a:accent2>
        <a:srgbClr val="778ABC"/>
      </a:accent2>
      <a:accent3>
        <a:srgbClr val="B30838"/>
      </a:accent3>
      <a:accent4>
        <a:srgbClr val="FFCA38"/>
      </a:accent4>
      <a:accent5>
        <a:srgbClr val="81848A"/>
      </a:accent5>
      <a:accent6>
        <a:srgbClr val="DDDEDD"/>
      </a:accent6>
      <a:hlink>
        <a:srgbClr val="0563C1"/>
      </a:hlink>
      <a:folHlink>
        <a:srgbClr val="954F72"/>
      </a:folHlink>
    </a:clrScheme>
    <a:fontScheme name="Custom 71">
      <a:majorFont>
        <a:latin typeface="Knockout 30 Junior Welterwt"/>
        <a:ea typeface=""/>
        <a:cs typeface=""/>
      </a:majorFont>
      <a:minorFont>
        <a:latin typeface="Knockout 30 Junior Welterw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8_Office Theme">
  <a:themeElements>
    <a:clrScheme name="Custom 17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34B8D"/>
      </a:accent1>
      <a:accent2>
        <a:srgbClr val="778ABC"/>
      </a:accent2>
      <a:accent3>
        <a:srgbClr val="B30838"/>
      </a:accent3>
      <a:accent4>
        <a:srgbClr val="FFCA38"/>
      </a:accent4>
      <a:accent5>
        <a:srgbClr val="81848A"/>
      </a:accent5>
      <a:accent6>
        <a:srgbClr val="DDDEDD"/>
      </a:accent6>
      <a:hlink>
        <a:srgbClr val="0563C1"/>
      </a:hlink>
      <a:folHlink>
        <a:srgbClr val="954F72"/>
      </a:folHlink>
    </a:clrScheme>
    <a:fontScheme name="Custom 71">
      <a:majorFont>
        <a:latin typeface="Knockout 30 Junior Welterwt"/>
        <a:ea typeface=""/>
        <a:cs typeface=""/>
      </a:majorFont>
      <a:minorFont>
        <a:latin typeface="Knockout 30 Junior Welterw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01: Slides with Banner">
  <a:themeElements>
    <a:clrScheme name="RGSE Colors 1">
      <a:dk1>
        <a:srgbClr val="000000"/>
      </a:dk1>
      <a:lt1>
        <a:srgbClr val="FFFFFF"/>
      </a:lt1>
      <a:dk2>
        <a:srgbClr val="234B8D"/>
      </a:dk2>
      <a:lt2>
        <a:srgbClr val="EEECE1"/>
      </a:lt2>
      <a:accent1>
        <a:srgbClr val="778ABC"/>
      </a:accent1>
      <a:accent2>
        <a:srgbClr val="C0504D"/>
      </a:accent2>
      <a:accent3>
        <a:srgbClr val="E87D1E"/>
      </a:accent3>
      <a:accent4>
        <a:srgbClr val="EEB111"/>
      </a:accent4>
      <a:accent5>
        <a:srgbClr val="A59A00"/>
      </a:accent5>
      <a:accent6>
        <a:srgbClr val="FFFFFF"/>
      </a:accent6>
      <a:hlink>
        <a:srgbClr val="234B8D"/>
      </a:hlink>
      <a:folHlink>
        <a:srgbClr val="778ABC"/>
      </a:folHlink>
    </a:clrScheme>
    <a:fontScheme name="RGSE Title Slide - Heading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b="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t01: Slides with Banner">
  <a:themeElements>
    <a:clrScheme name="RGSE Colors 1">
      <a:dk1>
        <a:srgbClr val="000000"/>
      </a:dk1>
      <a:lt1>
        <a:srgbClr val="FFFFFF"/>
      </a:lt1>
      <a:dk2>
        <a:srgbClr val="234B8D"/>
      </a:dk2>
      <a:lt2>
        <a:srgbClr val="EEECE1"/>
      </a:lt2>
      <a:accent1>
        <a:srgbClr val="778ABC"/>
      </a:accent1>
      <a:accent2>
        <a:srgbClr val="C0504D"/>
      </a:accent2>
      <a:accent3>
        <a:srgbClr val="E87D1E"/>
      </a:accent3>
      <a:accent4>
        <a:srgbClr val="EEB111"/>
      </a:accent4>
      <a:accent5>
        <a:srgbClr val="A59A00"/>
      </a:accent5>
      <a:accent6>
        <a:srgbClr val="FFFFFF"/>
      </a:accent6>
      <a:hlink>
        <a:srgbClr val="234B8D"/>
      </a:hlink>
      <a:folHlink>
        <a:srgbClr val="778ABC"/>
      </a:folHlink>
    </a:clrScheme>
    <a:fontScheme name="RGSE Title Slide - Heading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b="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t01: Slides with Banner">
  <a:themeElements>
    <a:clrScheme name="RGSE Colors 1">
      <a:dk1>
        <a:srgbClr val="000000"/>
      </a:dk1>
      <a:lt1>
        <a:srgbClr val="FFFFFF"/>
      </a:lt1>
      <a:dk2>
        <a:srgbClr val="234B8D"/>
      </a:dk2>
      <a:lt2>
        <a:srgbClr val="EEECE1"/>
      </a:lt2>
      <a:accent1>
        <a:srgbClr val="778ABC"/>
      </a:accent1>
      <a:accent2>
        <a:srgbClr val="C0504D"/>
      </a:accent2>
      <a:accent3>
        <a:srgbClr val="E87D1E"/>
      </a:accent3>
      <a:accent4>
        <a:srgbClr val="EEB111"/>
      </a:accent4>
      <a:accent5>
        <a:srgbClr val="A59A00"/>
      </a:accent5>
      <a:accent6>
        <a:srgbClr val="FFFFFF"/>
      </a:accent6>
      <a:hlink>
        <a:srgbClr val="234B8D"/>
      </a:hlink>
      <a:folHlink>
        <a:srgbClr val="778ABC"/>
      </a:folHlink>
    </a:clrScheme>
    <a:fontScheme name="RGSE Title Slide - Heading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b="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t01: Slides with Banner">
  <a:themeElements>
    <a:clrScheme name="RGSE Colors 1">
      <a:dk1>
        <a:srgbClr val="000000"/>
      </a:dk1>
      <a:lt1>
        <a:srgbClr val="FFFFFF"/>
      </a:lt1>
      <a:dk2>
        <a:srgbClr val="234B8D"/>
      </a:dk2>
      <a:lt2>
        <a:srgbClr val="EEECE1"/>
      </a:lt2>
      <a:accent1>
        <a:srgbClr val="778ABC"/>
      </a:accent1>
      <a:accent2>
        <a:srgbClr val="C0504D"/>
      </a:accent2>
      <a:accent3>
        <a:srgbClr val="E87D1E"/>
      </a:accent3>
      <a:accent4>
        <a:srgbClr val="EEB111"/>
      </a:accent4>
      <a:accent5>
        <a:srgbClr val="A59A00"/>
      </a:accent5>
      <a:accent6>
        <a:srgbClr val="FFFFFF"/>
      </a:accent6>
      <a:hlink>
        <a:srgbClr val="234B8D"/>
      </a:hlink>
      <a:folHlink>
        <a:srgbClr val="778ABC"/>
      </a:folHlink>
    </a:clrScheme>
    <a:fontScheme name="RGSE Title Slide - Heading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b="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4_t01: Slides with Banner">
  <a:themeElements>
    <a:clrScheme name="RGSE Colors 1">
      <a:dk1>
        <a:srgbClr val="000000"/>
      </a:dk1>
      <a:lt1>
        <a:srgbClr val="FFFFFF"/>
      </a:lt1>
      <a:dk2>
        <a:srgbClr val="234B8D"/>
      </a:dk2>
      <a:lt2>
        <a:srgbClr val="EEECE1"/>
      </a:lt2>
      <a:accent1>
        <a:srgbClr val="778ABC"/>
      </a:accent1>
      <a:accent2>
        <a:srgbClr val="C0504D"/>
      </a:accent2>
      <a:accent3>
        <a:srgbClr val="E87D1E"/>
      </a:accent3>
      <a:accent4>
        <a:srgbClr val="EEB111"/>
      </a:accent4>
      <a:accent5>
        <a:srgbClr val="A59A00"/>
      </a:accent5>
      <a:accent6>
        <a:srgbClr val="FFFFFF"/>
      </a:accent6>
      <a:hlink>
        <a:srgbClr val="234B8D"/>
      </a:hlink>
      <a:folHlink>
        <a:srgbClr val="778ABC"/>
      </a:folHlink>
    </a:clrScheme>
    <a:fontScheme name="RGSE Title Slide - Heading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b="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10_Office Theme">
  <a:themeElements>
    <a:clrScheme name="Custom 17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34B8D"/>
      </a:accent1>
      <a:accent2>
        <a:srgbClr val="778ABC"/>
      </a:accent2>
      <a:accent3>
        <a:srgbClr val="B30838"/>
      </a:accent3>
      <a:accent4>
        <a:srgbClr val="FFCA38"/>
      </a:accent4>
      <a:accent5>
        <a:srgbClr val="81848A"/>
      </a:accent5>
      <a:accent6>
        <a:srgbClr val="DDDEDD"/>
      </a:accent6>
      <a:hlink>
        <a:srgbClr val="0563C1"/>
      </a:hlink>
      <a:folHlink>
        <a:srgbClr val="954F72"/>
      </a:folHlink>
    </a:clrScheme>
    <a:fontScheme name="Custom 71">
      <a:majorFont>
        <a:latin typeface="Knockout 30 Junior Welterwt"/>
        <a:ea typeface=""/>
        <a:cs typeface=""/>
      </a:majorFont>
      <a:minorFont>
        <a:latin typeface="Knockout 30 Junior Welterw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9_Office Theme">
  <a:themeElements>
    <a:clrScheme name="Custom 17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34B8D"/>
      </a:accent1>
      <a:accent2>
        <a:srgbClr val="778ABC"/>
      </a:accent2>
      <a:accent3>
        <a:srgbClr val="B30838"/>
      </a:accent3>
      <a:accent4>
        <a:srgbClr val="FFCA38"/>
      </a:accent4>
      <a:accent5>
        <a:srgbClr val="81848A"/>
      </a:accent5>
      <a:accent6>
        <a:srgbClr val="DDDEDD"/>
      </a:accent6>
      <a:hlink>
        <a:srgbClr val="0563C1"/>
      </a:hlink>
      <a:folHlink>
        <a:srgbClr val="954F72"/>
      </a:folHlink>
    </a:clrScheme>
    <a:fontScheme name="Custom 71">
      <a:majorFont>
        <a:latin typeface="Knockout 30 Junior Welterwt"/>
        <a:ea typeface=""/>
        <a:cs typeface=""/>
      </a:majorFont>
      <a:minorFont>
        <a:latin typeface="Knockout 30 Junior Welterw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3_Office Theme">
  <a:themeElements>
    <a:clrScheme name="Custom 17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34B8D"/>
      </a:accent1>
      <a:accent2>
        <a:srgbClr val="778ABC"/>
      </a:accent2>
      <a:accent3>
        <a:srgbClr val="B30838"/>
      </a:accent3>
      <a:accent4>
        <a:srgbClr val="FFCA38"/>
      </a:accent4>
      <a:accent5>
        <a:srgbClr val="81848A"/>
      </a:accent5>
      <a:accent6>
        <a:srgbClr val="DDDEDD"/>
      </a:accent6>
      <a:hlink>
        <a:srgbClr val="0563C1"/>
      </a:hlink>
      <a:folHlink>
        <a:srgbClr val="954F72"/>
      </a:folHlink>
    </a:clrScheme>
    <a:fontScheme name="Custom 71">
      <a:majorFont>
        <a:latin typeface="Knockout 30 Junior Welterwt"/>
        <a:ea typeface=""/>
        <a:cs typeface=""/>
      </a:majorFont>
      <a:minorFont>
        <a:latin typeface="Knockout 30 Junior Welterw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000</TotalTime>
  <Words>677</Words>
  <Application>Microsoft Office PowerPoint</Application>
  <PresentationFormat>Widescreen</PresentationFormat>
  <Paragraphs>112</Paragraphs>
  <Slides>2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49" baseType="lpstr">
      <vt:lpstr>ＭＳ Ｐゴシック</vt:lpstr>
      <vt:lpstr>Always In My Heart</vt:lpstr>
      <vt:lpstr>Arial</vt:lpstr>
      <vt:lpstr>Calibri</vt:lpstr>
      <vt:lpstr>Helvetica</vt:lpstr>
      <vt:lpstr>Knockout 30 Junior Welterwt</vt:lpstr>
      <vt:lpstr>Lucida Grande</vt:lpstr>
      <vt:lpstr>Times New Roman</vt:lpstr>
      <vt:lpstr>Verdana</vt:lpstr>
      <vt:lpstr>Wingdings</vt:lpstr>
      <vt:lpstr>Office Theme</vt:lpstr>
      <vt:lpstr>t01: Slides with Banner</vt:lpstr>
      <vt:lpstr>1_t01: Slides with Banner</vt:lpstr>
      <vt:lpstr>2_t01: Slides with Banner</vt:lpstr>
      <vt:lpstr>3_t01: Slides with Banner</vt:lpstr>
      <vt:lpstr>4_t01: Slides with Banner</vt:lpstr>
      <vt:lpstr>10_Office Theme</vt:lpstr>
      <vt:lpstr>9_Office Theme</vt:lpstr>
      <vt:lpstr>13_Office Theme</vt:lpstr>
      <vt:lpstr>5_Office Theme</vt:lpstr>
      <vt:lpstr>4_Office Theme</vt:lpstr>
      <vt:lpstr>6_Office Theme</vt:lpstr>
      <vt:lpstr>7_Office Theme</vt:lpstr>
      <vt:lpstr>1_Office Theme</vt:lpstr>
      <vt:lpstr>3_Office Theme</vt:lpstr>
      <vt:lpstr>8_Office Theme</vt:lpstr>
      <vt:lpstr>18_Office Theme</vt:lpstr>
      <vt:lpstr>think-cell Slide</vt:lpstr>
      <vt:lpstr>PowerPoint Presentation</vt:lpstr>
      <vt:lpstr>About U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ur Approach</vt:lpstr>
      <vt:lpstr>PowerPoint Presentation</vt:lpstr>
      <vt:lpstr>PowerPoint Presentation</vt:lpstr>
      <vt:lpstr>PowerPoint Presentation</vt:lpstr>
      <vt:lpstr>PowerPoint Presentation</vt:lpstr>
      <vt:lpstr>What It Will Take</vt:lpstr>
      <vt:lpstr>Focus on Retention</vt:lpstr>
      <vt:lpstr>Focus on Diversity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za Rosh</dc:creator>
  <cp:lastModifiedBy>Jackson, Renee</cp:lastModifiedBy>
  <cp:revision>618</cp:revision>
  <cp:lastPrinted>2015-11-17T16:31:08Z</cp:lastPrinted>
  <dcterms:created xsi:type="dcterms:W3CDTF">2015-03-22T05:59:12Z</dcterms:created>
  <dcterms:modified xsi:type="dcterms:W3CDTF">2016-09-09T20:55:32Z</dcterms:modified>
</cp:coreProperties>
</file>